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5" r:id="rId2"/>
    <p:sldMasterId id="2147483778" r:id="rId3"/>
    <p:sldMasterId id="2147483791" r:id="rId4"/>
  </p:sldMasterIdLst>
  <p:notesMasterIdLst>
    <p:notesMasterId r:id="rId19"/>
  </p:notesMasterIdLst>
  <p:sldIdLst>
    <p:sldId id="274" r:id="rId5"/>
    <p:sldId id="7118" r:id="rId6"/>
    <p:sldId id="7119" r:id="rId7"/>
    <p:sldId id="6976" r:id="rId8"/>
    <p:sldId id="525" r:id="rId9"/>
    <p:sldId id="7122" r:id="rId10"/>
    <p:sldId id="258" r:id="rId11"/>
    <p:sldId id="259" r:id="rId12"/>
    <p:sldId id="260" r:id="rId13"/>
    <p:sldId id="269" r:id="rId14"/>
    <p:sldId id="534" r:id="rId15"/>
    <p:sldId id="537" r:id="rId16"/>
    <p:sldId id="273" r:id="rId17"/>
    <p:sldId id="533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E9"/>
    <a:srgbClr val="FFE1F6"/>
    <a:srgbClr val="AF00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F39C95-2548-471F-98CB-33AF030A6374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12D4141F-2042-42F2-96EC-76D44031703F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2400" b="1" dirty="0" err="1"/>
            <a:t>Financial</a:t>
          </a:r>
          <a:r>
            <a:rPr lang="cs-CZ" sz="2400" b="1" dirty="0"/>
            <a:t> </a:t>
          </a:r>
          <a:r>
            <a:rPr lang="cs-CZ" sz="2400" b="1" dirty="0" err="1"/>
            <a:t>schemes</a:t>
          </a:r>
          <a:endParaRPr lang="cs-CZ" sz="2400" b="1" dirty="0"/>
        </a:p>
      </dgm:t>
    </dgm:pt>
    <dgm:pt modelId="{69B0B1E0-AD38-4B75-BF28-6210EE205734}" type="parTrans" cxnId="{69CB757D-56E8-4D69-ABAF-96DABB9F19EE}">
      <dgm:prSet/>
      <dgm:spPr/>
      <dgm:t>
        <a:bodyPr/>
        <a:lstStyle/>
        <a:p>
          <a:endParaRPr lang="cs-CZ"/>
        </a:p>
      </dgm:t>
    </dgm:pt>
    <dgm:pt modelId="{88972F84-ECCE-4B66-939B-F11322E3734E}" type="sibTrans" cxnId="{69CB757D-56E8-4D69-ABAF-96DABB9F19EE}">
      <dgm:prSet/>
      <dgm:spPr/>
      <dgm:t>
        <a:bodyPr/>
        <a:lstStyle/>
        <a:p>
          <a:endParaRPr lang="cs-CZ"/>
        </a:p>
      </dgm:t>
    </dgm:pt>
    <dgm:pt modelId="{C358DBFF-2C3E-497C-A850-5D8B42EE3446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2000" dirty="0" err="1"/>
            <a:t>Total</a:t>
          </a:r>
          <a:r>
            <a:rPr lang="cs-CZ" sz="2000" dirty="0"/>
            <a:t> </a:t>
          </a:r>
          <a:r>
            <a:rPr lang="cs-CZ" sz="2000" dirty="0" err="1"/>
            <a:t>cost</a:t>
          </a:r>
          <a:r>
            <a:rPr lang="cs-CZ" sz="2000" dirty="0"/>
            <a:t> </a:t>
          </a:r>
          <a:r>
            <a:rPr lang="cs-CZ" sz="2000" dirty="0" err="1"/>
            <a:t>for</a:t>
          </a:r>
          <a:r>
            <a:rPr lang="cs-CZ" sz="2000" dirty="0"/>
            <a:t> </a:t>
          </a:r>
          <a:r>
            <a:rPr lang="cs-CZ" sz="2000" dirty="0" err="1"/>
            <a:t>all</a:t>
          </a:r>
          <a:r>
            <a:rPr lang="cs-CZ" sz="2000" dirty="0"/>
            <a:t> </a:t>
          </a:r>
          <a:r>
            <a:rPr lang="cs-CZ" sz="2000" dirty="0" err="1"/>
            <a:t>patients</a:t>
          </a:r>
          <a:endParaRPr lang="cs-CZ" sz="2000" dirty="0"/>
        </a:p>
      </dgm:t>
    </dgm:pt>
    <dgm:pt modelId="{4D5EF103-D7D4-4CE6-B9F7-2144917FA2E4}" type="parTrans" cxnId="{499941C4-9DD0-4753-B567-62F09EA63CFF}">
      <dgm:prSet/>
      <dgm:spPr/>
      <dgm:t>
        <a:bodyPr/>
        <a:lstStyle/>
        <a:p>
          <a:endParaRPr lang="cs-CZ"/>
        </a:p>
      </dgm:t>
    </dgm:pt>
    <dgm:pt modelId="{A7558D7C-1317-4AE7-B7C0-8D15B91BCADA}" type="sibTrans" cxnId="{499941C4-9DD0-4753-B567-62F09EA63CFF}">
      <dgm:prSet/>
      <dgm:spPr/>
      <dgm:t>
        <a:bodyPr/>
        <a:lstStyle/>
        <a:p>
          <a:endParaRPr lang="cs-CZ"/>
        </a:p>
      </dgm:t>
    </dgm:pt>
    <dgm:pt modelId="{24760939-3BEE-4445-87AC-C326E17A94A9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2000" dirty="0" err="1"/>
            <a:t>Discounts</a:t>
          </a:r>
          <a:endParaRPr lang="cs-CZ" sz="2000" dirty="0"/>
        </a:p>
      </dgm:t>
    </dgm:pt>
    <dgm:pt modelId="{158A09C0-2DEE-4512-BBFD-8546EEF5932E}" type="parTrans" cxnId="{F52EBDE9-F998-4548-83D2-7919EF5D509F}">
      <dgm:prSet/>
      <dgm:spPr/>
      <dgm:t>
        <a:bodyPr/>
        <a:lstStyle/>
        <a:p>
          <a:endParaRPr lang="cs-CZ"/>
        </a:p>
      </dgm:t>
    </dgm:pt>
    <dgm:pt modelId="{8650F5F4-86DF-4853-B1BB-A37F21358B17}" type="sibTrans" cxnId="{F52EBDE9-F998-4548-83D2-7919EF5D509F}">
      <dgm:prSet/>
      <dgm:spPr/>
      <dgm:t>
        <a:bodyPr/>
        <a:lstStyle/>
        <a:p>
          <a:endParaRPr lang="cs-CZ"/>
        </a:p>
      </dgm:t>
    </dgm:pt>
    <dgm:pt modelId="{D367C440-71E2-4CE6-B903-0DEFCA9747CF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2000" dirty="0" err="1"/>
            <a:t>Price</a:t>
          </a:r>
          <a:r>
            <a:rPr lang="cs-CZ" sz="2000" dirty="0"/>
            <a:t>/</a:t>
          </a:r>
        </a:p>
        <a:p>
          <a:r>
            <a:rPr lang="cs-CZ" sz="2000" dirty="0" err="1"/>
            <a:t>volume</a:t>
          </a:r>
          <a:endParaRPr lang="cs-CZ" sz="2000" dirty="0"/>
        </a:p>
      </dgm:t>
    </dgm:pt>
    <dgm:pt modelId="{2A890D53-B0CC-4F47-981C-7125C814D2F2}" type="parTrans" cxnId="{FC24F06E-10B2-483A-95FB-F9360427EC50}">
      <dgm:prSet/>
      <dgm:spPr/>
      <dgm:t>
        <a:bodyPr/>
        <a:lstStyle/>
        <a:p>
          <a:endParaRPr lang="cs-CZ"/>
        </a:p>
      </dgm:t>
    </dgm:pt>
    <dgm:pt modelId="{A402C3E5-6E68-407B-8CAA-7C905055BE8B}" type="sibTrans" cxnId="{FC24F06E-10B2-483A-95FB-F9360427EC50}">
      <dgm:prSet/>
      <dgm:spPr/>
      <dgm:t>
        <a:bodyPr/>
        <a:lstStyle/>
        <a:p>
          <a:endParaRPr lang="cs-CZ"/>
        </a:p>
      </dgm:t>
    </dgm:pt>
    <dgm:pt modelId="{374115A7-3976-47C5-B1A4-A8D87C85203C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2000" dirty="0" err="1"/>
            <a:t>Total</a:t>
          </a:r>
          <a:r>
            <a:rPr lang="cs-CZ" sz="2000" dirty="0"/>
            <a:t> </a:t>
          </a:r>
          <a:r>
            <a:rPr lang="cs-CZ" sz="2000" dirty="0" err="1"/>
            <a:t>cost</a:t>
          </a:r>
          <a:r>
            <a:rPr lang="cs-CZ" sz="2000" dirty="0"/>
            <a:t> per </a:t>
          </a:r>
          <a:r>
            <a:rPr lang="cs-CZ" sz="2000" dirty="0" err="1"/>
            <a:t>patient</a:t>
          </a:r>
          <a:endParaRPr lang="cs-CZ" sz="2000" dirty="0"/>
        </a:p>
      </dgm:t>
    </dgm:pt>
    <dgm:pt modelId="{078C3A10-55D5-4A6C-B6D6-A6DE0617E976}" type="parTrans" cxnId="{F46D39C2-BF57-4C91-A3FE-04F87B87AEC3}">
      <dgm:prSet/>
      <dgm:spPr/>
      <dgm:t>
        <a:bodyPr/>
        <a:lstStyle/>
        <a:p>
          <a:endParaRPr lang="cs-CZ"/>
        </a:p>
      </dgm:t>
    </dgm:pt>
    <dgm:pt modelId="{F187EEB6-683D-40BA-A0AC-8F1A3B23D9BE}" type="sibTrans" cxnId="{F46D39C2-BF57-4C91-A3FE-04F87B87AEC3}">
      <dgm:prSet/>
      <dgm:spPr/>
      <dgm:t>
        <a:bodyPr/>
        <a:lstStyle/>
        <a:p>
          <a:endParaRPr lang="cs-CZ"/>
        </a:p>
      </dgm:t>
    </dgm:pt>
    <dgm:pt modelId="{A7ADD45C-FE7D-468D-84DD-770B33DC65E2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2000" dirty="0" err="1"/>
            <a:t>Utilisation</a:t>
          </a:r>
          <a:r>
            <a:rPr lang="cs-CZ" sz="2000" dirty="0"/>
            <a:t> </a:t>
          </a:r>
          <a:r>
            <a:rPr lang="cs-CZ" sz="2000" dirty="0" err="1"/>
            <a:t>capping</a:t>
          </a:r>
          <a:endParaRPr lang="cs-CZ" sz="2000" dirty="0"/>
        </a:p>
      </dgm:t>
    </dgm:pt>
    <dgm:pt modelId="{1CF4E215-3437-496C-868D-3F385188C448}" type="parTrans" cxnId="{ED6654C2-24AB-4219-BB26-F25540E435C0}">
      <dgm:prSet/>
      <dgm:spPr/>
      <dgm:t>
        <a:bodyPr/>
        <a:lstStyle/>
        <a:p>
          <a:endParaRPr lang="cs-CZ"/>
        </a:p>
      </dgm:t>
    </dgm:pt>
    <dgm:pt modelId="{F6582DCE-DAC4-45B1-82BB-A8BE906F3638}" type="sibTrans" cxnId="{ED6654C2-24AB-4219-BB26-F25540E435C0}">
      <dgm:prSet/>
      <dgm:spPr/>
      <dgm:t>
        <a:bodyPr/>
        <a:lstStyle/>
        <a:p>
          <a:endParaRPr lang="cs-CZ"/>
        </a:p>
      </dgm:t>
    </dgm:pt>
    <dgm:pt modelId="{78580A88-CC5A-4E3F-8197-1B2297B224F4}">
      <dgm:prSet phldrT="[Text]" custT="1"/>
      <dgm:spPr>
        <a:solidFill>
          <a:srgbClr val="FFE5F7"/>
        </a:solidFill>
      </dgm:spPr>
      <dgm:t>
        <a:bodyPr/>
        <a:lstStyle/>
        <a:p>
          <a:r>
            <a:rPr lang="cs-CZ" sz="2000" b="1" dirty="0"/>
            <a:t>Objective</a:t>
          </a:r>
        </a:p>
      </dgm:t>
    </dgm:pt>
    <dgm:pt modelId="{087855F2-D54B-4B59-A6B2-B6A25AC90CB8}" type="parTrans" cxnId="{AEA12A46-01FA-4D38-B69B-CB063F50B842}">
      <dgm:prSet/>
      <dgm:spPr/>
      <dgm:t>
        <a:bodyPr/>
        <a:lstStyle/>
        <a:p>
          <a:endParaRPr lang="cs-CZ"/>
        </a:p>
      </dgm:t>
    </dgm:pt>
    <dgm:pt modelId="{8BE740EA-8509-43FB-AB97-5555CCD4060D}" type="sibTrans" cxnId="{AEA12A46-01FA-4D38-B69B-CB063F50B842}">
      <dgm:prSet/>
      <dgm:spPr/>
      <dgm:t>
        <a:bodyPr/>
        <a:lstStyle/>
        <a:p>
          <a:endParaRPr lang="cs-CZ"/>
        </a:p>
      </dgm:t>
    </dgm:pt>
    <dgm:pt modelId="{9A3DCDDA-5E5A-4AB6-9DB0-712203B664F8}">
      <dgm:prSet phldrT="[Text]" custT="1"/>
      <dgm:spPr>
        <a:solidFill>
          <a:srgbClr val="FFE5F7"/>
        </a:solidFill>
      </dgm:spPr>
      <dgm:t>
        <a:bodyPr/>
        <a:lstStyle/>
        <a:p>
          <a:r>
            <a:rPr lang="cs-CZ" sz="2000" b="1" dirty="0"/>
            <a:t>Monitoring</a:t>
          </a:r>
        </a:p>
      </dgm:t>
    </dgm:pt>
    <dgm:pt modelId="{60F9F2E9-BB1E-4B68-ADB6-4C9C9AAD26D3}" type="parTrans" cxnId="{8F8B8696-FB77-4473-897B-B06FAE0529DE}">
      <dgm:prSet/>
      <dgm:spPr/>
      <dgm:t>
        <a:bodyPr/>
        <a:lstStyle/>
        <a:p>
          <a:endParaRPr lang="cs-CZ"/>
        </a:p>
      </dgm:t>
    </dgm:pt>
    <dgm:pt modelId="{93616876-E00D-4BC4-96A7-91E60698DF90}" type="sibTrans" cxnId="{8F8B8696-FB77-4473-897B-B06FAE0529DE}">
      <dgm:prSet/>
      <dgm:spPr/>
      <dgm:t>
        <a:bodyPr/>
        <a:lstStyle/>
        <a:p>
          <a:endParaRPr lang="cs-CZ"/>
        </a:p>
      </dgm:t>
    </dgm:pt>
    <dgm:pt modelId="{04108B77-AAFB-418B-9277-8C1F2B013CD8}">
      <dgm:prSet phldrT="[Text]" custT="1"/>
      <dgm:spPr>
        <a:solidFill>
          <a:srgbClr val="FFE5F7"/>
        </a:solidFill>
      </dgm:spPr>
      <dgm:t>
        <a:bodyPr/>
        <a:lstStyle/>
        <a:p>
          <a:r>
            <a:rPr lang="cs-CZ" sz="2000" b="1" dirty="0"/>
            <a:t>Instruments</a:t>
          </a:r>
        </a:p>
      </dgm:t>
    </dgm:pt>
    <dgm:pt modelId="{57633476-7E70-40B9-9E4A-3B6D96138587}" type="parTrans" cxnId="{FEB5C6DB-A8FF-429F-B997-E7490304A8E3}">
      <dgm:prSet/>
      <dgm:spPr/>
      <dgm:t>
        <a:bodyPr/>
        <a:lstStyle/>
        <a:p>
          <a:endParaRPr lang="cs-CZ"/>
        </a:p>
      </dgm:t>
    </dgm:pt>
    <dgm:pt modelId="{8C7E3381-BAE6-4B60-A68B-FA5BC7ACD495}" type="sibTrans" cxnId="{FEB5C6DB-A8FF-429F-B997-E7490304A8E3}">
      <dgm:prSet/>
      <dgm:spPr/>
      <dgm:t>
        <a:bodyPr/>
        <a:lstStyle/>
        <a:p>
          <a:endParaRPr lang="cs-CZ"/>
        </a:p>
      </dgm:t>
    </dgm:pt>
    <dgm:pt modelId="{034F5013-F57C-476A-A130-75523D130586}" type="pres">
      <dgm:prSet presAssocID="{61F39C95-2548-471F-98CB-33AF030A6374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455E61A2-26AF-4EFD-8488-49D2830AEDC1}" type="pres">
      <dgm:prSet presAssocID="{61F39C95-2548-471F-98CB-33AF030A6374}" presName="hierFlow" presStyleCnt="0"/>
      <dgm:spPr/>
    </dgm:pt>
    <dgm:pt modelId="{CD239806-1F1B-41D3-930B-67198CE05176}" type="pres">
      <dgm:prSet presAssocID="{61F39C95-2548-471F-98CB-33AF030A6374}" presName="firstBuf" presStyleCnt="0"/>
      <dgm:spPr/>
    </dgm:pt>
    <dgm:pt modelId="{E2800EFE-3E7A-4C96-9DD0-E6AEAEFC7092}" type="pres">
      <dgm:prSet presAssocID="{61F39C95-2548-471F-98CB-33AF030A6374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2A762012-184F-4C4D-B251-D96126C20283}" type="pres">
      <dgm:prSet presAssocID="{12D4141F-2042-42F2-96EC-76D44031703F}" presName="Name14" presStyleCnt="0"/>
      <dgm:spPr/>
    </dgm:pt>
    <dgm:pt modelId="{238C0F03-3B46-4010-B250-46656DB10D5A}" type="pres">
      <dgm:prSet presAssocID="{12D4141F-2042-42F2-96EC-76D44031703F}" presName="level1Shape" presStyleLbl="node0" presStyleIdx="0" presStyleCnt="1" custScaleX="154694">
        <dgm:presLayoutVars>
          <dgm:chPref val="3"/>
        </dgm:presLayoutVars>
      </dgm:prSet>
      <dgm:spPr/>
    </dgm:pt>
    <dgm:pt modelId="{16FA47A3-82F6-482D-AFF8-BBBEEACF9DBF}" type="pres">
      <dgm:prSet presAssocID="{12D4141F-2042-42F2-96EC-76D44031703F}" presName="hierChild2" presStyleCnt="0"/>
      <dgm:spPr/>
    </dgm:pt>
    <dgm:pt modelId="{9DAD6922-1F0E-4AA6-96FB-219CBABA1B6E}" type="pres">
      <dgm:prSet presAssocID="{4D5EF103-D7D4-4CE6-B9F7-2144917FA2E4}" presName="Name19" presStyleLbl="parChTrans1D2" presStyleIdx="0" presStyleCnt="2"/>
      <dgm:spPr/>
    </dgm:pt>
    <dgm:pt modelId="{F59DE42A-6342-4782-8D82-3D335B805806}" type="pres">
      <dgm:prSet presAssocID="{C358DBFF-2C3E-497C-A850-5D8B42EE3446}" presName="Name21" presStyleCnt="0"/>
      <dgm:spPr/>
    </dgm:pt>
    <dgm:pt modelId="{7135FCE7-E12D-4EB7-846C-FF3D0ED6E777}" type="pres">
      <dgm:prSet presAssocID="{C358DBFF-2C3E-497C-A850-5D8B42EE3446}" presName="level2Shape" presStyleLbl="node2" presStyleIdx="0" presStyleCnt="2" custScaleX="140942"/>
      <dgm:spPr/>
    </dgm:pt>
    <dgm:pt modelId="{1F176E73-0397-40A7-ACCD-4FE07C4ADC86}" type="pres">
      <dgm:prSet presAssocID="{C358DBFF-2C3E-497C-A850-5D8B42EE3446}" presName="hierChild3" presStyleCnt="0"/>
      <dgm:spPr/>
    </dgm:pt>
    <dgm:pt modelId="{5F266593-7278-4197-9217-6B8B69EAC432}" type="pres">
      <dgm:prSet presAssocID="{158A09C0-2DEE-4512-BBFD-8546EEF5932E}" presName="Name19" presStyleLbl="parChTrans1D3" presStyleIdx="0" presStyleCnt="3"/>
      <dgm:spPr/>
    </dgm:pt>
    <dgm:pt modelId="{69D69ED8-3ADB-4C01-ABFA-15D859562AAE}" type="pres">
      <dgm:prSet presAssocID="{24760939-3BEE-4445-87AC-C326E17A94A9}" presName="Name21" presStyleCnt="0"/>
      <dgm:spPr/>
    </dgm:pt>
    <dgm:pt modelId="{59E7F7A9-E766-4E64-A7BC-3E0084598ED4}" type="pres">
      <dgm:prSet presAssocID="{24760939-3BEE-4445-87AC-C326E17A94A9}" presName="level2Shape" presStyleLbl="node3" presStyleIdx="0" presStyleCnt="3"/>
      <dgm:spPr/>
    </dgm:pt>
    <dgm:pt modelId="{F549E214-7A28-47A5-82E5-230A6967204B}" type="pres">
      <dgm:prSet presAssocID="{24760939-3BEE-4445-87AC-C326E17A94A9}" presName="hierChild3" presStyleCnt="0"/>
      <dgm:spPr/>
    </dgm:pt>
    <dgm:pt modelId="{F332D8B0-68C3-46CD-AA3E-3858218BB2CB}" type="pres">
      <dgm:prSet presAssocID="{2A890D53-B0CC-4F47-981C-7125C814D2F2}" presName="Name19" presStyleLbl="parChTrans1D3" presStyleIdx="1" presStyleCnt="3"/>
      <dgm:spPr/>
    </dgm:pt>
    <dgm:pt modelId="{513D7658-99D6-4C8D-A0D3-928AB081EDEC}" type="pres">
      <dgm:prSet presAssocID="{D367C440-71E2-4CE6-B903-0DEFCA9747CF}" presName="Name21" presStyleCnt="0"/>
      <dgm:spPr/>
    </dgm:pt>
    <dgm:pt modelId="{9AA1285E-C84F-4BFF-B3AA-EA207395B897}" type="pres">
      <dgm:prSet presAssocID="{D367C440-71E2-4CE6-B903-0DEFCA9747CF}" presName="level2Shape" presStyleLbl="node3" presStyleIdx="1" presStyleCnt="3"/>
      <dgm:spPr/>
    </dgm:pt>
    <dgm:pt modelId="{8B067D14-FF1A-4DC7-BB68-BABB3E73A7D0}" type="pres">
      <dgm:prSet presAssocID="{D367C440-71E2-4CE6-B903-0DEFCA9747CF}" presName="hierChild3" presStyleCnt="0"/>
      <dgm:spPr/>
    </dgm:pt>
    <dgm:pt modelId="{441A2FA6-3A5B-4049-BEE8-75CE023D1B77}" type="pres">
      <dgm:prSet presAssocID="{078C3A10-55D5-4A6C-B6D6-A6DE0617E976}" presName="Name19" presStyleLbl="parChTrans1D2" presStyleIdx="1" presStyleCnt="2"/>
      <dgm:spPr/>
    </dgm:pt>
    <dgm:pt modelId="{6EFA169B-B8F2-4065-9818-96E5CD37D4C0}" type="pres">
      <dgm:prSet presAssocID="{374115A7-3976-47C5-B1A4-A8D87C85203C}" presName="Name21" presStyleCnt="0"/>
      <dgm:spPr/>
    </dgm:pt>
    <dgm:pt modelId="{59861DAE-FE47-4C7F-9E8B-20EF1C3C1AA6}" type="pres">
      <dgm:prSet presAssocID="{374115A7-3976-47C5-B1A4-A8D87C85203C}" presName="level2Shape" presStyleLbl="node2" presStyleIdx="1" presStyleCnt="2" custScaleX="138073"/>
      <dgm:spPr/>
    </dgm:pt>
    <dgm:pt modelId="{76A4F025-4A04-4F4D-859E-8919F9104FF4}" type="pres">
      <dgm:prSet presAssocID="{374115A7-3976-47C5-B1A4-A8D87C85203C}" presName="hierChild3" presStyleCnt="0"/>
      <dgm:spPr/>
    </dgm:pt>
    <dgm:pt modelId="{7803A247-CEAB-4F63-A232-7C9003CEF120}" type="pres">
      <dgm:prSet presAssocID="{1CF4E215-3437-496C-868D-3F385188C448}" presName="Name19" presStyleLbl="parChTrans1D3" presStyleIdx="2" presStyleCnt="3"/>
      <dgm:spPr/>
    </dgm:pt>
    <dgm:pt modelId="{4BCAC5BA-BE17-477B-971F-71CB012F6909}" type="pres">
      <dgm:prSet presAssocID="{A7ADD45C-FE7D-468D-84DD-770B33DC65E2}" presName="Name21" presStyleCnt="0"/>
      <dgm:spPr/>
    </dgm:pt>
    <dgm:pt modelId="{B86CBC92-6328-4E3D-A81A-8DC4059342DF}" type="pres">
      <dgm:prSet presAssocID="{A7ADD45C-FE7D-468D-84DD-770B33DC65E2}" presName="level2Shape" presStyleLbl="node3" presStyleIdx="2" presStyleCnt="3" custScaleX="113489"/>
      <dgm:spPr/>
    </dgm:pt>
    <dgm:pt modelId="{FC2A3FB4-75B0-4F19-9382-937018FCF852}" type="pres">
      <dgm:prSet presAssocID="{A7ADD45C-FE7D-468D-84DD-770B33DC65E2}" presName="hierChild3" presStyleCnt="0"/>
      <dgm:spPr/>
    </dgm:pt>
    <dgm:pt modelId="{332BC7B7-6655-4E33-9C15-01BD6A36B17B}" type="pres">
      <dgm:prSet presAssocID="{61F39C95-2548-471F-98CB-33AF030A6374}" presName="bgShapesFlow" presStyleCnt="0"/>
      <dgm:spPr/>
    </dgm:pt>
    <dgm:pt modelId="{217C43F3-5F26-424F-A3DD-C71DF2288B70}" type="pres">
      <dgm:prSet presAssocID="{78580A88-CC5A-4E3F-8197-1B2297B224F4}" presName="rectComp" presStyleCnt="0"/>
      <dgm:spPr/>
    </dgm:pt>
    <dgm:pt modelId="{9B3B613E-1110-4DDF-9D0D-708D50A27B38}" type="pres">
      <dgm:prSet presAssocID="{78580A88-CC5A-4E3F-8197-1B2297B224F4}" presName="bgRect" presStyleLbl="bgShp" presStyleIdx="0" presStyleCnt="3"/>
      <dgm:spPr/>
    </dgm:pt>
    <dgm:pt modelId="{A0E35548-BD48-41A4-B1AD-AED2DBD2408A}" type="pres">
      <dgm:prSet presAssocID="{78580A88-CC5A-4E3F-8197-1B2297B224F4}" presName="bgRectTx" presStyleLbl="bgShp" presStyleIdx="0" presStyleCnt="3">
        <dgm:presLayoutVars>
          <dgm:bulletEnabled val="1"/>
        </dgm:presLayoutVars>
      </dgm:prSet>
      <dgm:spPr/>
    </dgm:pt>
    <dgm:pt modelId="{18262637-4ECC-414E-A7D7-A7524013DA76}" type="pres">
      <dgm:prSet presAssocID="{78580A88-CC5A-4E3F-8197-1B2297B224F4}" presName="spComp" presStyleCnt="0"/>
      <dgm:spPr/>
    </dgm:pt>
    <dgm:pt modelId="{EE66A819-DA6C-450B-89A9-6F204F68C6E6}" type="pres">
      <dgm:prSet presAssocID="{78580A88-CC5A-4E3F-8197-1B2297B224F4}" presName="vSp" presStyleCnt="0"/>
      <dgm:spPr/>
    </dgm:pt>
    <dgm:pt modelId="{B5019CC6-07FC-4E63-A4D8-CE8AFEB8CD08}" type="pres">
      <dgm:prSet presAssocID="{9A3DCDDA-5E5A-4AB6-9DB0-712203B664F8}" presName="rectComp" presStyleCnt="0"/>
      <dgm:spPr/>
    </dgm:pt>
    <dgm:pt modelId="{910F2BDE-3F10-4B50-B9E1-537363F68C4B}" type="pres">
      <dgm:prSet presAssocID="{9A3DCDDA-5E5A-4AB6-9DB0-712203B664F8}" presName="bgRect" presStyleLbl="bgShp" presStyleIdx="1" presStyleCnt="3"/>
      <dgm:spPr/>
    </dgm:pt>
    <dgm:pt modelId="{3FEB1480-7F14-4B55-8E50-E25A453875A1}" type="pres">
      <dgm:prSet presAssocID="{9A3DCDDA-5E5A-4AB6-9DB0-712203B664F8}" presName="bgRectTx" presStyleLbl="bgShp" presStyleIdx="1" presStyleCnt="3">
        <dgm:presLayoutVars>
          <dgm:bulletEnabled val="1"/>
        </dgm:presLayoutVars>
      </dgm:prSet>
      <dgm:spPr/>
    </dgm:pt>
    <dgm:pt modelId="{B8677106-6057-4AD4-A64E-AB18ADF5D4D7}" type="pres">
      <dgm:prSet presAssocID="{9A3DCDDA-5E5A-4AB6-9DB0-712203B664F8}" presName="spComp" presStyleCnt="0"/>
      <dgm:spPr/>
    </dgm:pt>
    <dgm:pt modelId="{01433F5B-D26F-4E04-91DB-AA109E097635}" type="pres">
      <dgm:prSet presAssocID="{9A3DCDDA-5E5A-4AB6-9DB0-712203B664F8}" presName="vSp" presStyleCnt="0"/>
      <dgm:spPr/>
    </dgm:pt>
    <dgm:pt modelId="{99168B89-E046-45DE-A5E5-59C3B94EE084}" type="pres">
      <dgm:prSet presAssocID="{04108B77-AAFB-418B-9277-8C1F2B013CD8}" presName="rectComp" presStyleCnt="0"/>
      <dgm:spPr/>
    </dgm:pt>
    <dgm:pt modelId="{00B6132D-4C7E-4FB2-B712-99C7308DCB62}" type="pres">
      <dgm:prSet presAssocID="{04108B77-AAFB-418B-9277-8C1F2B013CD8}" presName="bgRect" presStyleLbl="bgShp" presStyleIdx="2" presStyleCnt="3"/>
      <dgm:spPr/>
    </dgm:pt>
    <dgm:pt modelId="{BB4B9C32-4080-4339-B292-81E0C9F714D5}" type="pres">
      <dgm:prSet presAssocID="{04108B77-AAFB-418B-9277-8C1F2B013CD8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84E37709-D5EE-42A7-8AF5-055C332D6E14}" type="presOf" srcId="{D367C440-71E2-4CE6-B903-0DEFCA9747CF}" destId="{9AA1285E-C84F-4BFF-B3AA-EA207395B897}" srcOrd="0" destOrd="0" presId="urn:microsoft.com/office/officeart/2005/8/layout/hierarchy6"/>
    <dgm:cxn modelId="{4ED8CB18-65DF-4297-8976-A68479452255}" type="presOf" srcId="{158A09C0-2DEE-4512-BBFD-8546EEF5932E}" destId="{5F266593-7278-4197-9217-6B8B69EAC432}" srcOrd="0" destOrd="0" presId="urn:microsoft.com/office/officeart/2005/8/layout/hierarchy6"/>
    <dgm:cxn modelId="{43DA1D2B-C17C-4EEA-A9B0-2A48A606BE5C}" type="presOf" srcId="{1CF4E215-3437-496C-868D-3F385188C448}" destId="{7803A247-CEAB-4F63-A232-7C9003CEF120}" srcOrd="0" destOrd="0" presId="urn:microsoft.com/office/officeart/2005/8/layout/hierarchy6"/>
    <dgm:cxn modelId="{9CB5262B-7EE1-4B1F-AF42-69014DE0CD10}" type="presOf" srcId="{4D5EF103-D7D4-4CE6-B9F7-2144917FA2E4}" destId="{9DAD6922-1F0E-4AA6-96FB-219CBABA1B6E}" srcOrd="0" destOrd="0" presId="urn:microsoft.com/office/officeart/2005/8/layout/hierarchy6"/>
    <dgm:cxn modelId="{C92DAE3A-0126-41E1-BF5C-5228827A341C}" type="presOf" srcId="{C358DBFF-2C3E-497C-A850-5D8B42EE3446}" destId="{7135FCE7-E12D-4EB7-846C-FF3D0ED6E777}" srcOrd="0" destOrd="0" presId="urn:microsoft.com/office/officeart/2005/8/layout/hierarchy6"/>
    <dgm:cxn modelId="{ADA16F41-B8E7-4E3D-9ECF-F36E022F886F}" type="presOf" srcId="{61F39C95-2548-471F-98CB-33AF030A6374}" destId="{034F5013-F57C-476A-A130-75523D130586}" srcOrd="0" destOrd="0" presId="urn:microsoft.com/office/officeart/2005/8/layout/hierarchy6"/>
    <dgm:cxn modelId="{C6BEBF63-5724-4D7F-A44B-69A0F6C2B79B}" type="presOf" srcId="{9A3DCDDA-5E5A-4AB6-9DB0-712203B664F8}" destId="{3FEB1480-7F14-4B55-8E50-E25A453875A1}" srcOrd="1" destOrd="0" presId="urn:microsoft.com/office/officeart/2005/8/layout/hierarchy6"/>
    <dgm:cxn modelId="{AEA12A46-01FA-4D38-B69B-CB063F50B842}" srcId="{61F39C95-2548-471F-98CB-33AF030A6374}" destId="{78580A88-CC5A-4E3F-8197-1B2297B224F4}" srcOrd="1" destOrd="0" parTransId="{087855F2-D54B-4B59-A6B2-B6A25AC90CB8}" sibTransId="{8BE740EA-8509-43FB-AB97-5555CCD4060D}"/>
    <dgm:cxn modelId="{E601626A-5F75-4341-85F8-E9DD837647D1}" type="presOf" srcId="{9A3DCDDA-5E5A-4AB6-9DB0-712203B664F8}" destId="{910F2BDE-3F10-4B50-B9E1-537363F68C4B}" srcOrd="0" destOrd="0" presId="urn:microsoft.com/office/officeart/2005/8/layout/hierarchy6"/>
    <dgm:cxn modelId="{FC24F06E-10B2-483A-95FB-F9360427EC50}" srcId="{C358DBFF-2C3E-497C-A850-5D8B42EE3446}" destId="{D367C440-71E2-4CE6-B903-0DEFCA9747CF}" srcOrd="1" destOrd="0" parTransId="{2A890D53-B0CC-4F47-981C-7125C814D2F2}" sibTransId="{A402C3E5-6E68-407B-8CAA-7C905055BE8B}"/>
    <dgm:cxn modelId="{4FC7256F-F6C3-46A2-B97E-DA68054DF02C}" type="presOf" srcId="{04108B77-AAFB-418B-9277-8C1F2B013CD8}" destId="{00B6132D-4C7E-4FB2-B712-99C7308DCB62}" srcOrd="0" destOrd="0" presId="urn:microsoft.com/office/officeart/2005/8/layout/hierarchy6"/>
    <dgm:cxn modelId="{73661373-CFF9-49DA-B38A-117A3E429B33}" type="presOf" srcId="{A7ADD45C-FE7D-468D-84DD-770B33DC65E2}" destId="{B86CBC92-6328-4E3D-A81A-8DC4059342DF}" srcOrd="0" destOrd="0" presId="urn:microsoft.com/office/officeart/2005/8/layout/hierarchy6"/>
    <dgm:cxn modelId="{69CB757D-56E8-4D69-ABAF-96DABB9F19EE}" srcId="{61F39C95-2548-471F-98CB-33AF030A6374}" destId="{12D4141F-2042-42F2-96EC-76D44031703F}" srcOrd="0" destOrd="0" parTransId="{69B0B1E0-AD38-4B75-BF28-6210EE205734}" sibTransId="{88972F84-ECCE-4B66-939B-F11322E3734E}"/>
    <dgm:cxn modelId="{8F8B8696-FB77-4473-897B-B06FAE0529DE}" srcId="{61F39C95-2548-471F-98CB-33AF030A6374}" destId="{9A3DCDDA-5E5A-4AB6-9DB0-712203B664F8}" srcOrd="2" destOrd="0" parTransId="{60F9F2E9-BB1E-4B68-ADB6-4C9C9AAD26D3}" sibTransId="{93616876-E00D-4BC4-96A7-91E60698DF90}"/>
    <dgm:cxn modelId="{978FE798-A37E-4912-BEDE-3805F2924452}" type="presOf" srcId="{04108B77-AAFB-418B-9277-8C1F2B013CD8}" destId="{BB4B9C32-4080-4339-B292-81E0C9F714D5}" srcOrd="1" destOrd="0" presId="urn:microsoft.com/office/officeart/2005/8/layout/hierarchy6"/>
    <dgm:cxn modelId="{CA6E059C-E68E-40F7-9FA7-D9586D06BBD7}" type="presOf" srcId="{78580A88-CC5A-4E3F-8197-1B2297B224F4}" destId="{9B3B613E-1110-4DDF-9D0D-708D50A27B38}" srcOrd="0" destOrd="0" presId="urn:microsoft.com/office/officeart/2005/8/layout/hierarchy6"/>
    <dgm:cxn modelId="{F46D39C2-BF57-4C91-A3FE-04F87B87AEC3}" srcId="{12D4141F-2042-42F2-96EC-76D44031703F}" destId="{374115A7-3976-47C5-B1A4-A8D87C85203C}" srcOrd="1" destOrd="0" parTransId="{078C3A10-55D5-4A6C-B6D6-A6DE0617E976}" sibTransId="{F187EEB6-683D-40BA-A0AC-8F1A3B23D9BE}"/>
    <dgm:cxn modelId="{ED6654C2-24AB-4219-BB26-F25540E435C0}" srcId="{374115A7-3976-47C5-B1A4-A8D87C85203C}" destId="{A7ADD45C-FE7D-468D-84DD-770B33DC65E2}" srcOrd="0" destOrd="0" parTransId="{1CF4E215-3437-496C-868D-3F385188C448}" sibTransId="{F6582DCE-DAC4-45B1-82BB-A8BE906F3638}"/>
    <dgm:cxn modelId="{499941C4-9DD0-4753-B567-62F09EA63CFF}" srcId="{12D4141F-2042-42F2-96EC-76D44031703F}" destId="{C358DBFF-2C3E-497C-A850-5D8B42EE3446}" srcOrd="0" destOrd="0" parTransId="{4D5EF103-D7D4-4CE6-B9F7-2144917FA2E4}" sibTransId="{A7558D7C-1317-4AE7-B7C0-8D15B91BCADA}"/>
    <dgm:cxn modelId="{FD89B6D5-B761-47AD-9F25-64DF7E30DF9B}" type="presOf" srcId="{2A890D53-B0CC-4F47-981C-7125C814D2F2}" destId="{F332D8B0-68C3-46CD-AA3E-3858218BB2CB}" srcOrd="0" destOrd="0" presId="urn:microsoft.com/office/officeart/2005/8/layout/hierarchy6"/>
    <dgm:cxn modelId="{FEB5C6DB-A8FF-429F-B997-E7490304A8E3}" srcId="{61F39C95-2548-471F-98CB-33AF030A6374}" destId="{04108B77-AAFB-418B-9277-8C1F2B013CD8}" srcOrd="3" destOrd="0" parTransId="{57633476-7E70-40B9-9E4A-3B6D96138587}" sibTransId="{8C7E3381-BAE6-4B60-A68B-FA5BC7ACD495}"/>
    <dgm:cxn modelId="{7A6499E4-FAC5-4A28-B0B1-04CE97EEB6E5}" type="presOf" srcId="{078C3A10-55D5-4A6C-B6D6-A6DE0617E976}" destId="{441A2FA6-3A5B-4049-BEE8-75CE023D1B77}" srcOrd="0" destOrd="0" presId="urn:microsoft.com/office/officeart/2005/8/layout/hierarchy6"/>
    <dgm:cxn modelId="{26997EE5-ADF2-4E77-BA48-6B3A2DFF83AD}" type="presOf" srcId="{78580A88-CC5A-4E3F-8197-1B2297B224F4}" destId="{A0E35548-BD48-41A4-B1AD-AED2DBD2408A}" srcOrd="1" destOrd="0" presId="urn:microsoft.com/office/officeart/2005/8/layout/hierarchy6"/>
    <dgm:cxn modelId="{F804F3E8-AE76-474A-A135-6D1EFFFD37CF}" type="presOf" srcId="{374115A7-3976-47C5-B1A4-A8D87C85203C}" destId="{59861DAE-FE47-4C7F-9E8B-20EF1C3C1AA6}" srcOrd="0" destOrd="0" presId="urn:microsoft.com/office/officeart/2005/8/layout/hierarchy6"/>
    <dgm:cxn modelId="{F52EBDE9-F998-4548-83D2-7919EF5D509F}" srcId="{C358DBFF-2C3E-497C-A850-5D8B42EE3446}" destId="{24760939-3BEE-4445-87AC-C326E17A94A9}" srcOrd="0" destOrd="0" parTransId="{158A09C0-2DEE-4512-BBFD-8546EEF5932E}" sibTransId="{8650F5F4-86DF-4853-B1BB-A37F21358B17}"/>
    <dgm:cxn modelId="{7BC86FF1-363A-4A7C-AB2B-FD6894A72F67}" type="presOf" srcId="{24760939-3BEE-4445-87AC-C326E17A94A9}" destId="{59E7F7A9-E766-4E64-A7BC-3E0084598ED4}" srcOrd="0" destOrd="0" presId="urn:microsoft.com/office/officeart/2005/8/layout/hierarchy6"/>
    <dgm:cxn modelId="{D78C57F9-3B1A-448F-8868-562EDA152500}" type="presOf" srcId="{12D4141F-2042-42F2-96EC-76D44031703F}" destId="{238C0F03-3B46-4010-B250-46656DB10D5A}" srcOrd="0" destOrd="0" presId="urn:microsoft.com/office/officeart/2005/8/layout/hierarchy6"/>
    <dgm:cxn modelId="{F9B26D73-B35B-4191-9817-CE40D452D032}" type="presParOf" srcId="{034F5013-F57C-476A-A130-75523D130586}" destId="{455E61A2-26AF-4EFD-8488-49D2830AEDC1}" srcOrd="0" destOrd="0" presId="urn:microsoft.com/office/officeart/2005/8/layout/hierarchy6"/>
    <dgm:cxn modelId="{14DA85ED-9C2E-488F-A571-6776FE022DF2}" type="presParOf" srcId="{455E61A2-26AF-4EFD-8488-49D2830AEDC1}" destId="{CD239806-1F1B-41D3-930B-67198CE05176}" srcOrd="0" destOrd="0" presId="urn:microsoft.com/office/officeart/2005/8/layout/hierarchy6"/>
    <dgm:cxn modelId="{A1036181-3F7D-4BFB-9670-3E0DC92B8B56}" type="presParOf" srcId="{455E61A2-26AF-4EFD-8488-49D2830AEDC1}" destId="{E2800EFE-3E7A-4C96-9DD0-E6AEAEFC7092}" srcOrd="1" destOrd="0" presId="urn:microsoft.com/office/officeart/2005/8/layout/hierarchy6"/>
    <dgm:cxn modelId="{422946B3-A21A-4008-BA38-B6747A06826C}" type="presParOf" srcId="{E2800EFE-3E7A-4C96-9DD0-E6AEAEFC7092}" destId="{2A762012-184F-4C4D-B251-D96126C20283}" srcOrd="0" destOrd="0" presId="urn:microsoft.com/office/officeart/2005/8/layout/hierarchy6"/>
    <dgm:cxn modelId="{ACC921D1-8B92-4B02-9FB6-468E98952031}" type="presParOf" srcId="{2A762012-184F-4C4D-B251-D96126C20283}" destId="{238C0F03-3B46-4010-B250-46656DB10D5A}" srcOrd="0" destOrd="0" presId="urn:microsoft.com/office/officeart/2005/8/layout/hierarchy6"/>
    <dgm:cxn modelId="{8FCC0138-C8FD-4146-B4FF-A5FBBB45B3CF}" type="presParOf" srcId="{2A762012-184F-4C4D-B251-D96126C20283}" destId="{16FA47A3-82F6-482D-AFF8-BBBEEACF9DBF}" srcOrd="1" destOrd="0" presId="urn:microsoft.com/office/officeart/2005/8/layout/hierarchy6"/>
    <dgm:cxn modelId="{DE9BF4D3-2A28-4CE3-ACE7-3E4F4169C5D1}" type="presParOf" srcId="{16FA47A3-82F6-482D-AFF8-BBBEEACF9DBF}" destId="{9DAD6922-1F0E-4AA6-96FB-219CBABA1B6E}" srcOrd="0" destOrd="0" presId="urn:microsoft.com/office/officeart/2005/8/layout/hierarchy6"/>
    <dgm:cxn modelId="{2E50BC56-8924-4E52-B5DC-1AD03C1E46A0}" type="presParOf" srcId="{16FA47A3-82F6-482D-AFF8-BBBEEACF9DBF}" destId="{F59DE42A-6342-4782-8D82-3D335B805806}" srcOrd="1" destOrd="0" presId="urn:microsoft.com/office/officeart/2005/8/layout/hierarchy6"/>
    <dgm:cxn modelId="{3B18FC92-F369-4943-BAEF-7E9DE0360D9B}" type="presParOf" srcId="{F59DE42A-6342-4782-8D82-3D335B805806}" destId="{7135FCE7-E12D-4EB7-846C-FF3D0ED6E777}" srcOrd="0" destOrd="0" presId="urn:microsoft.com/office/officeart/2005/8/layout/hierarchy6"/>
    <dgm:cxn modelId="{0743A534-C1B2-4C82-B2EF-324BC639FDFC}" type="presParOf" srcId="{F59DE42A-6342-4782-8D82-3D335B805806}" destId="{1F176E73-0397-40A7-ACCD-4FE07C4ADC86}" srcOrd="1" destOrd="0" presId="urn:microsoft.com/office/officeart/2005/8/layout/hierarchy6"/>
    <dgm:cxn modelId="{52B13569-1EA4-4EFA-B06F-CAF84BD5FE39}" type="presParOf" srcId="{1F176E73-0397-40A7-ACCD-4FE07C4ADC86}" destId="{5F266593-7278-4197-9217-6B8B69EAC432}" srcOrd="0" destOrd="0" presId="urn:microsoft.com/office/officeart/2005/8/layout/hierarchy6"/>
    <dgm:cxn modelId="{51C739D8-B06B-4C7D-AF18-C4EFCCBCD9A7}" type="presParOf" srcId="{1F176E73-0397-40A7-ACCD-4FE07C4ADC86}" destId="{69D69ED8-3ADB-4C01-ABFA-15D859562AAE}" srcOrd="1" destOrd="0" presId="urn:microsoft.com/office/officeart/2005/8/layout/hierarchy6"/>
    <dgm:cxn modelId="{12738BCD-8E99-4A34-A692-15C9A3698D61}" type="presParOf" srcId="{69D69ED8-3ADB-4C01-ABFA-15D859562AAE}" destId="{59E7F7A9-E766-4E64-A7BC-3E0084598ED4}" srcOrd="0" destOrd="0" presId="urn:microsoft.com/office/officeart/2005/8/layout/hierarchy6"/>
    <dgm:cxn modelId="{7481B32E-4687-493A-A62C-6A01B4350F17}" type="presParOf" srcId="{69D69ED8-3ADB-4C01-ABFA-15D859562AAE}" destId="{F549E214-7A28-47A5-82E5-230A6967204B}" srcOrd="1" destOrd="0" presId="urn:microsoft.com/office/officeart/2005/8/layout/hierarchy6"/>
    <dgm:cxn modelId="{C2A5102B-140A-48C1-AB00-2BFC361B741D}" type="presParOf" srcId="{1F176E73-0397-40A7-ACCD-4FE07C4ADC86}" destId="{F332D8B0-68C3-46CD-AA3E-3858218BB2CB}" srcOrd="2" destOrd="0" presId="urn:microsoft.com/office/officeart/2005/8/layout/hierarchy6"/>
    <dgm:cxn modelId="{28F0F5F8-28C1-4438-8F11-8D58BEBACCEE}" type="presParOf" srcId="{1F176E73-0397-40A7-ACCD-4FE07C4ADC86}" destId="{513D7658-99D6-4C8D-A0D3-928AB081EDEC}" srcOrd="3" destOrd="0" presId="urn:microsoft.com/office/officeart/2005/8/layout/hierarchy6"/>
    <dgm:cxn modelId="{D13F28E3-B6CE-4C41-9308-994B9734AB97}" type="presParOf" srcId="{513D7658-99D6-4C8D-A0D3-928AB081EDEC}" destId="{9AA1285E-C84F-4BFF-B3AA-EA207395B897}" srcOrd="0" destOrd="0" presId="urn:microsoft.com/office/officeart/2005/8/layout/hierarchy6"/>
    <dgm:cxn modelId="{18F58423-9695-4BE5-8AF4-EA30A2A908FB}" type="presParOf" srcId="{513D7658-99D6-4C8D-A0D3-928AB081EDEC}" destId="{8B067D14-FF1A-4DC7-BB68-BABB3E73A7D0}" srcOrd="1" destOrd="0" presId="urn:microsoft.com/office/officeart/2005/8/layout/hierarchy6"/>
    <dgm:cxn modelId="{F72A9A3E-3A45-4B72-815E-F5F847171958}" type="presParOf" srcId="{16FA47A3-82F6-482D-AFF8-BBBEEACF9DBF}" destId="{441A2FA6-3A5B-4049-BEE8-75CE023D1B77}" srcOrd="2" destOrd="0" presId="urn:microsoft.com/office/officeart/2005/8/layout/hierarchy6"/>
    <dgm:cxn modelId="{C01A3804-B528-49B9-A4DA-DAA17138E27C}" type="presParOf" srcId="{16FA47A3-82F6-482D-AFF8-BBBEEACF9DBF}" destId="{6EFA169B-B8F2-4065-9818-96E5CD37D4C0}" srcOrd="3" destOrd="0" presId="urn:microsoft.com/office/officeart/2005/8/layout/hierarchy6"/>
    <dgm:cxn modelId="{07CF17F4-4E79-415C-AD01-B7B8C05C160B}" type="presParOf" srcId="{6EFA169B-B8F2-4065-9818-96E5CD37D4C0}" destId="{59861DAE-FE47-4C7F-9E8B-20EF1C3C1AA6}" srcOrd="0" destOrd="0" presId="urn:microsoft.com/office/officeart/2005/8/layout/hierarchy6"/>
    <dgm:cxn modelId="{F875F2F6-0C32-4194-98F5-5D2FED03091E}" type="presParOf" srcId="{6EFA169B-B8F2-4065-9818-96E5CD37D4C0}" destId="{76A4F025-4A04-4F4D-859E-8919F9104FF4}" srcOrd="1" destOrd="0" presId="urn:microsoft.com/office/officeart/2005/8/layout/hierarchy6"/>
    <dgm:cxn modelId="{BF42C4B3-C475-4776-B490-0AC303031C75}" type="presParOf" srcId="{76A4F025-4A04-4F4D-859E-8919F9104FF4}" destId="{7803A247-CEAB-4F63-A232-7C9003CEF120}" srcOrd="0" destOrd="0" presId="urn:microsoft.com/office/officeart/2005/8/layout/hierarchy6"/>
    <dgm:cxn modelId="{B3618534-293B-47F2-8EC5-11604E6B226B}" type="presParOf" srcId="{76A4F025-4A04-4F4D-859E-8919F9104FF4}" destId="{4BCAC5BA-BE17-477B-971F-71CB012F6909}" srcOrd="1" destOrd="0" presId="urn:microsoft.com/office/officeart/2005/8/layout/hierarchy6"/>
    <dgm:cxn modelId="{BE51345E-4732-4347-A3A0-3A7ED0AF8393}" type="presParOf" srcId="{4BCAC5BA-BE17-477B-971F-71CB012F6909}" destId="{B86CBC92-6328-4E3D-A81A-8DC4059342DF}" srcOrd="0" destOrd="0" presId="urn:microsoft.com/office/officeart/2005/8/layout/hierarchy6"/>
    <dgm:cxn modelId="{33635F50-B2F5-47F6-8823-397EF6FE6090}" type="presParOf" srcId="{4BCAC5BA-BE17-477B-971F-71CB012F6909}" destId="{FC2A3FB4-75B0-4F19-9382-937018FCF852}" srcOrd="1" destOrd="0" presId="urn:microsoft.com/office/officeart/2005/8/layout/hierarchy6"/>
    <dgm:cxn modelId="{91A36D3F-FD95-4323-BF9C-FEB63D4CC450}" type="presParOf" srcId="{034F5013-F57C-476A-A130-75523D130586}" destId="{332BC7B7-6655-4E33-9C15-01BD6A36B17B}" srcOrd="1" destOrd="0" presId="urn:microsoft.com/office/officeart/2005/8/layout/hierarchy6"/>
    <dgm:cxn modelId="{8765FB1A-6ADD-4249-A94A-BA29F1637F16}" type="presParOf" srcId="{332BC7B7-6655-4E33-9C15-01BD6A36B17B}" destId="{217C43F3-5F26-424F-A3DD-C71DF2288B70}" srcOrd="0" destOrd="0" presId="urn:microsoft.com/office/officeart/2005/8/layout/hierarchy6"/>
    <dgm:cxn modelId="{B84E1805-DC2F-41E0-A07D-0207F9DC98EB}" type="presParOf" srcId="{217C43F3-5F26-424F-A3DD-C71DF2288B70}" destId="{9B3B613E-1110-4DDF-9D0D-708D50A27B38}" srcOrd="0" destOrd="0" presId="urn:microsoft.com/office/officeart/2005/8/layout/hierarchy6"/>
    <dgm:cxn modelId="{6579C4E4-0DED-4D4C-B71B-08AAE0E2F88B}" type="presParOf" srcId="{217C43F3-5F26-424F-A3DD-C71DF2288B70}" destId="{A0E35548-BD48-41A4-B1AD-AED2DBD2408A}" srcOrd="1" destOrd="0" presId="urn:microsoft.com/office/officeart/2005/8/layout/hierarchy6"/>
    <dgm:cxn modelId="{0D6C0B02-FA8E-4FFE-8A4F-71B850EC9E2E}" type="presParOf" srcId="{332BC7B7-6655-4E33-9C15-01BD6A36B17B}" destId="{18262637-4ECC-414E-A7D7-A7524013DA76}" srcOrd="1" destOrd="0" presId="urn:microsoft.com/office/officeart/2005/8/layout/hierarchy6"/>
    <dgm:cxn modelId="{32A04C5A-7A65-4026-B11C-47F5AB7BDF73}" type="presParOf" srcId="{18262637-4ECC-414E-A7D7-A7524013DA76}" destId="{EE66A819-DA6C-450B-89A9-6F204F68C6E6}" srcOrd="0" destOrd="0" presId="urn:microsoft.com/office/officeart/2005/8/layout/hierarchy6"/>
    <dgm:cxn modelId="{502F7C6B-DB7E-4FB8-BE25-252423191BCF}" type="presParOf" srcId="{332BC7B7-6655-4E33-9C15-01BD6A36B17B}" destId="{B5019CC6-07FC-4E63-A4D8-CE8AFEB8CD08}" srcOrd="2" destOrd="0" presId="urn:microsoft.com/office/officeart/2005/8/layout/hierarchy6"/>
    <dgm:cxn modelId="{F8C3ACE5-7670-41F1-80F2-D81D198843CF}" type="presParOf" srcId="{B5019CC6-07FC-4E63-A4D8-CE8AFEB8CD08}" destId="{910F2BDE-3F10-4B50-B9E1-537363F68C4B}" srcOrd="0" destOrd="0" presId="urn:microsoft.com/office/officeart/2005/8/layout/hierarchy6"/>
    <dgm:cxn modelId="{C529A13B-873A-47B9-9F09-BE3AB12142B8}" type="presParOf" srcId="{B5019CC6-07FC-4E63-A4D8-CE8AFEB8CD08}" destId="{3FEB1480-7F14-4B55-8E50-E25A453875A1}" srcOrd="1" destOrd="0" presId="urn:microsoft.com/office/officeart/2005/8/layout/hierarchy6"/>
    <dgm:cxn modelId="{12CC3FC6-0005-46C7-A6C3-4B9D1F4D9E77}" type="presParOf" srcId="{332BC7B7-6655-4E33-9C15-01BD6A36B17B}" destId="{B8677106-6057-4AD4-A64E-AB18ADF5D4D7}" srcOrd="3" destOrd="0" presId="urn:microsoft.com/office/officeart/2005/8/layout/hierarchy6"/>
    <dgm:cxn modelId="{9EF4B040-5321-4957-8473-DBE7E6DA84E2}" type="presParOf" srcId="{B8677106-6057-4AD4-A64E-AB18ADF5D4D7}" destId="{01433F5B-D26F-4E04-91DB-AA109E097635}" srcOrd="0" destOrd="0" presId="urn:microsoft.com/office/officeart/2005/8/layout/hierarchy6"/>
    <dgm:cxn modelId="{7A5D32FC-82F1-455A-B1A3-20F7A12CE986}" type="presParOf" srcId="{332BC7B7-6655-4E33-9C15-01BD6A36B17B}" destId="{99168B89-E046-45DE-A5E5-59C3B94EE084}" srcOrd="4" destOrd="0" presId="urn:microsoft.com/office/officeart/2005/8/layout/hierarchy6"/>
    <dgm:cxn modelId="{C3B5233A-2C67-4C9D-A653-28A9C7F6B7CF}" type="presParOf" srcId="{99168B89-E046-45DE-A5E5-59C3B94EE084}" destId="{00B6132D-4C7E-4FB2-B712-99C7308DCB62}" srcOrd="0" destOrd="0" presId="urn:microsoft.com/office/officeart/2005/8/layout/hierarchy6"/>
    <dgm:cxn modelId="{DF67826A-6D7D-42B8-A202-965034DC9A3B}" type="presParOf" srcId="{99168B89-E046-45DE-A5E5-59C3B94EE084}" destId="{BB4B9C32-4080-4339-B292-81E0C9F714D5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A67A5F-BF82-47F4-8EE1-F4A99ECA332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08AB9DBE-241E-4215-A4E3-B09C1C63B8AC}">
      <dgm:prSet phldrT="[Text]" custT="1"/>
      <dgm:spPr>
        <a:solidFill>
          <a:srgbClr val="A40071"/>
        </a:solidFill>
      </dgm:spPr>
      <dgm:t>
        <a:bodyPr/>
        <a:lstStyle/>
        <a:p>
          <a:pPr algn="ctr"/>
          <a:endParaRPr lang="cs-CZ" sz="3200" b="0" dirty="0">
            <a:solidFill>
              <a:schemeClr val="accent1"/>
            </a:solidFill>
            <a:latin typeface="+mj-lt"/>
          </a:endParaRPr>
        </a:p>
      </dgm:t>
    </dgm:pt>
    <dgm:pt modelId="{C09CA155-88CB-46F8-A15F-595BA35AC89C}" type="parTrans" cxnId="{583047C7-9AD8-4F30-9CF9-104BA89F5A67}">
      <dgm:prSet/>
      <dgm:spPr/>
      <dgm:t>
        <a:bodyPr/>
        <a:lstStyle/>
        <a:p>
          <a:pPr algn="ctr"/>
          <a:endParaRPr lang="cs-CZ" sz="3200" b="0">
            <a:latin typeface="+mj-lt"/>
          </a:endParaRPr>
        </a:p>
      </dgm:t>
    </dgm:pt>
    <dgm:pt modelId="{5F92E7D8-276C-4AED-876F-E02951D041CB}" type="sibTrans" cxnId="{583047C7-9AD8-4F30-9CF9-104BA89F5A67}">
      <dgm:prSet/>
      <dgm:spPr/>
      <dgm:t>
        <a:bodyPr/>
        <a:lstStyle/>
        <a:p>
          <a:pPr algn="ctr"/>
          <a:endParaRPr lang="cs-CZ" sz="3200" b="0">
            <a:latin typeface="+mj-lt"/>
          </a:endParaRPr>
        </a:p>
      </dgm:t>
    </dgm:pt>
    <dgm:pt modelId="{DC776748-5066-4A77-B72B-F1FE1D157238}">
      <dgm:prSet custT="1"/>
      <dgm:spPr>
        <a:ln>
          <a:noFill/>
        </a:ln>
      </dgm:spPr>
      <dgm:t>
        <a:bodyPr/>
        <a:lstStyle/>
        <a:p>
          <a:pPr algn="ctr">
            <a:buNone/>
          </a:pPr>
          <a:r>
            <a:rPr lang="cs-CZ" sz="3200" b="0" dirty="0" err="1">
              <a:latin typeface="+mj-lt"/>
            </a:rPr>
            <a:t>Managed</a:t>
          </a:r>
          <a:r>
            <a:rPr lang="cs-CZ" sz="3200" b="0" dirty="0">
              <a:latin typeface="+mj-lt"/>
            </a:rPr>
            <a:t> </a:t>
          </a:r>
          <a:r>
            <a:rPr lang="cs-CZ" sz="3200" b="0" dirty="0" err="1">
              <a:latin typeface="+mj-lt"/>
            </a:rPr>
            <a:t>entry</a:t>
          </a:r>
          <a:r>
            <a:rPr lang="cs-CZ" sz="3200" b="0" dirty="0">
              <a:latin typeface="+mj-lt"/>
            </a:rPr>
            <a:t> </a:t>
          </a:r>
          <a:r>
            <a:rPr lang="cs-CZ" sz="3200" b="0" dirty="0" err="1">
              <a:latin typeface="+mj-lt"/>
            </a:rPr>
            <a:t>schemes</a:t>
          </a:r>
          <a:r>
            <a:rPr lang="cs-CZ" sz="3200" b="0" dirty="0">
              <a:latin typeface="+mj-lt"/>
            </a:rPr>
            <a:t> - </a:t>
          </a:r>
          <a:r>
            <a:rPr lang="cs-CZ" sz="3200" b="0" dirty="0" err="1">
              <a:latin typeface="+mj-lt"/>
            </a:rPr>
            <a:t>financial</a:t>
          </a:r>
          <a:endParaRPr lang="cs-CZ" sz="3200" b="0" dirty="0">
            <a:latin typeface="+mj-lt"/>
          </a:endParaRPr>
        </a:p>
      </dgm:t>
    </dgm:pt>
    <dgm:pt modelId="{9790F635-4F31-40E2-B677-473BB07559B9}" type="parTrans" cxnId="{3D920FD3-80BE-4553-839E-DBB840E291B1}">
      <dgm:prSet/>
      <dgm:spPr/>
      <dgm:t>
        <a:bodyPr/>
        <a:lstStyle/>
        <a:p>
          <a:pPr algn="ctr"/>
          <a:endParaRPr lang="cs-CZ" sz="3200" b="0">
            <a:latin typeface="+mj-lt"/>
          </a:endParaRPr>
        </a:p>
      </dgm:t>
    </dgm:pt>
    <dgm:pt modelId="{0DA3B365-1AFE-420B-A1E3-A43D09CF11E6}" type="sibTrans" cxnId="{3D920FD3-80BE-4553-839E-DBB840E291B1}">
      <dgm:prSet/>
      <dgm:spPr/>
      <dgm:t>
        <a:bodyPr/>
        <a:lstStyle/>
        <a:p>
          <a:pPr algn="ctr"/>
          <a:endParaRPr lang="cs-CZ" sz="3200" b="0">
            <a:latin typeface="+mj-lt"/>
          </a:endParaRPr>
        </a:p>
      </dgm:t>
    </dgm:pt>
    <dgm:pt modelId="{5DE161F5-F3AF-41FC-9C63-AFD9DFDA8427}" type="pres">
      <dgm:prSet presAssocID="{38A67A5F-BF82-47F4-8EE1-F4A99ECA3328}" presName="linearFlow" presStyleCnt="0">
        <dgm:presLayoutVars>
          <dgm:dir/>
          <dgm:animLvl val="lvl"/>
          <dgm:resizeHandles val="exact"/>
        </dgm:presLayoutVars>
      </dgm:prSet>
      <dgm:spPr/>
    </dgm:pt>
    <dgm:pt modelId="{A81FC6A6-40E0-482D-974B-7E08374F3EB6}" type="pres">
      <dgm:prSet presAssocID="{08AB9DBE-241E-4215-A4E3-B09C1C63B8AC}" presName="composite" presStyleCnt="0"/>
      <dgm:spPr/>
    </dgm:pt>
    <dgm:pt modelId="{6F2BD1C9-F271-4295-A2BE-2AFF4678C3E8}" type="pres">
      <dgm:prSet presAssocID="{08AB9DBE-241E-4215-A4E3-B09C1C63B8AC}" presName="parentText" presStyleLbl="alignNode1" presStyleIdx="0" presStyleCnt="1" custLinFactNeighborY="-958">
        <dgm:presLayoutVars>
          <dgm:chMax val="1"/>
          <dgm:bulletEnabled val="1"/>
        </dgm:presLayoutVars>
      </dgm:prSet>
      <dgm:spPr/>
    </dgm:pt>
    <dgm:pt modelId="{28D4BFFE-84B7-4902-B04E-2E59D33E9BA7}" type="pres">
      <dgm:prSet presAssocID="{08AB9DBE-241E-4215-A4E3-B09C1C63B8AC}" presName="descendantText" presStyleLbl="alignAcc1" presStyleIdx="0" presStyleCnt="1" custLinFactY="-228428" custLinFactNeighborX="17627" custLinFactNeighborY="-300000">
        <dgm:presLayoutVars>
          <dgm:bulletEnabled val="1"/>
        </dgm:presLayoutVars>
      </dgm:prSet>
      <dgm:spPr/>
    </dgm:pt>
  </dgm:ptLst>
  <dgm:cxnLst>
    <dgm:cxn modelId="{96A1D810-2028-441A-8DA1-9720557D5F6A}" type="presOf" srcId="{08AB9DBE-241E-4215-A4E3-B09C1C63B8AC}" destId="{6F2BD1C9-F271-4295-A2BE-2AFF4678C3E8}" srcOrd="0" destOrd="0" presId="urn:microsoft.com/office/officeart/2005/8/layout/chevron2"/>
    <dgm:cxn modelId="{7AFC5921-7325-4F5E-992D-F2FDA5CCE3C4}" type="presOf" srcId="{DC776748-5066-4A77-B72B-F1FE1D157238}" destId="{28D4BFFE-84B7-4902-B04E-2E59D33E9BA7}" srcOrd="0" destOrd="0" presId="urn:microsoft.com/office/officeart/2005/8/layout/chevron2"/>
    <dgm:cxn modelId="{23EC623E-CD48-4C51-A499-A3152151A0BB}" type="presOf" srcId="{38A67A5F-BF82-47F4-8EE1-F4A99ECA3328}" destId="{5DE161F5-F3AF-41FC-9C63-AFD9DFDA8427}" srcOrd="0" destOrd="0" presId="urn:microsoft.com/office/officeart/2005/8/layout/chevron2"/>
    <dgm:cxn modelId="{583047C7-9AD8-4F30-9CF9-104BA89F5A67}" srcId="{38A67A5F-BF82-47F4-8EE1-F4A99ECA3328}" destId="{08AB9DBE-241E-4215-A4E3-B09C1C63B8AC}" srcOrd="0" destOrd="0" parTransId="{C09CA155-88CB-46F8-A15F-595BA35AC89C}" sibTransId="{5F92E7D8-276C-4AED-876F-E02951D041CB}"/>
    <dgm:cxn modelId="{3D920FD3-80BE-4553-839E-DBB840E291B1}" srcId="{08AB9DBE-241E-4215-A4E3-B09C1C63B8AC}" destId="{DC776748-5066-4A77-B72B-F1FE1D157238}" srcOrd="0" destOrd="0" parTransId="{9790F635-4F31-40E2-B677-473BB07559B9}" sibTransId="{0DA3B365-1AFE-420B-A1E3-A43D09CF11E6}"/>
    <dgm:cxn modelId="{A7749AD2-D866-45DA-A4ED-129EC5B4D7CE}" type="presParOf" srcId="{5DE161F5-F3AF-41FC-9C63-AFD9DFDA8427}" destId="{A81FC6A6-40E0-482D-974B-7E08374F3EB6}" srcOrd="0" destOrd="0" presId="urn:microsoft.com/office/officeart/2005/8/layout/chevron2"/>
    <dgm:cxn modelId="{4DB3FC70-FD09-4F27-83F9-2FDBA73F5355}" type="presParOf" srcId="{A81FC6A6-40E0-482D-974B-7E08374F3EB6}" destId="{6F2BD1C9-F271-4295-A2BE-2AFF4678C3E8}" srcOrd="0" destOrd="0" presId="urn:microsoft.com/office/officeart/2005/8/layout/chevron2"/>
    <dgm:cxn modelId="{0E7E5444-301B-46AF-9D35-A8FC7A463C64}" type="presParOf" srcId="{A81FC6A6-40E0-482D-974B-7E08374F3EB6}" destId="{28D4BFFE-84B7-4902-B04E-2E59D33E9BA7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EAB167D-9C33-4B44-ADCB-A3311404EA00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0B0E4EA1-3D42-414E-B3ED-47D1C43A84DB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2400" b="1" dirty="0"/>
            <a:t>Performance-</a:t>
          </a:r>
          <a:r>
            <a:rPr lang="cs-CZ" sz="2400" b="1" dirty="0" err="1"/>
            <a:t>based</a:t>
          </a:r>
          <a:r>
            <a:rPr lang="cs-CZ" sz="2400" b="1" dirty="0"/>
            <a:t> </a:t>
          </a:r>
          <a:r>
            <a:rPr lang="cs-CZ" sz="2400" b="1" dirty="0" err="1"/>
            <a:t>agreements</a:t>
          </a:r>
          <a:endParaRPr lang="cs-CZ" sz="2400" dirty="0"/>
        </a:p>
      </dgm:t>
    </dgm:pt>
    <dgm:pt modelId="{986F599F-4CB4-473E-AAF4-F57A5DC84813}" type="parTrans" cxnId="{6D93C5A5-E499-4DED-AE6B-AAE1976F9D75}">
      <dgm:prSet/>
      <dgm:spPr/>
      <dgm:t>
        <a:bodyPr/>
        <a:lstStyle/>
        <a:p>
          <a:endParaRPr lang="cs-CZ"/>
        </a:p>
      </dgm:t>
    </dgm:pt>
    <dgm:pt modelId="{136B75A4-5C36-4E48-9BF3-58C93D55828C}" type="sibTrans" cxnId="{6D93C5A5-E499-4DED-AE6B-AAE1976F9D75}">
      <dgm:prSet/>
      <dgm:spPr/>
      <dgm:t>
        <a:bodyPr/>
        <a:lstStyle/>
        <a:p>
          <a:endParaRPr lang="cs-CZ"/>
        </a:p>
      </dgm:t>
    </dgm:pt>
    <dgm:pt modelId="{491B77F2-178D-4978-8885-2A96F241E444}">
      <dgm:prSet phldrT="[Text]"/>
      <dgm:spPr>
        <a:solidFill>
          <a:srgbClr val="A40071"/>
        </a:solidFill>
      </dgm:spPr>
      <dgm:t>
        <a:bodyPr/>
        <a:lstStyle/>
        <a:p>
          <a:r>
            <a:rPr lang="cs-CZ" dirty="0" err="1"/>
            <a:t>Utilisation</a:t>
          </a:r>
          <a:r>
            <a:rPr lang="cs-CZ" dirty="0"/>
            <a:t> in </a:t>
          </a:r>
          <a:r>
            <a:rPr lang="cs-CZ" dirty="0" err="1"/>
            <a:t>the</a:t>
          </a:r>
          <a:r>
            <a:rPr lang="cs-CZ" dirty="0"/>
            <a:t> </a:t>
          </a:r>
          <a:r>
            <a:rPr lang="cs-CZ" dirty="0" err="1"/>
            <a:t>real</a:t>
          </a:r>
          <a:r>
            <a:rPr lang="cs-CZ" dirty="0"/>
            <a:t> </a:t>
          </a:r>
          <a:r>
            <a:rPr lang="cs-CZ" dirty="0" err="1"/>
            <a:t>life</a:t>
          </a:r>
          <a:endParaRPr lang="cs-CZ" dirty="0"/>
        </a:p>
      </dgm:t>
    </dgm:pt>
    <dgm:pt modelId="{E40B9FAA-351B-4395-B503-68E008FA00C9}" type="parTrans" cxnId="{47990746-F921-4832-B207-0164CE061E71}">
      <dgm:prSet/>
      <dgm:spPr/>
      <dgm:t>
        <a:bodyPr/>
        <a:lstStyle/>
        <a:p>
          <a:endParaRPr lang="cs-CZ"/>
        </a:p>
      </dgm:t>
    </dgm:pt>
    <dgm:pt modelId="{7D5E858B-E249-4418-AA97-640C20B10E3F}" type="sibTrans" cxnId="{47990746-F921-4832-B207-0164CE061E71}">
      <dgm:prSet/>
      <dgm:spPr/>
      <dgm:t>
        <a:bodyPr/>
        <a:lstStyle/>
        <a:p>
          <a:endParaRPr lang="cs-CZ"/>
        </a:p>
      </dgm:t>
    </dgm:pt>
    <dgm:pt modelId="{4E66F8C5-4BCB-4680-9664-9E6C1B6925AA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1800" dirty="0"/>
            <a:t>Performance </a:t>
          </a:r>
          <a:r>
            <a:rPr lang="cs-CZ" sz="1800" dirty="0" err="1"/>
            <a:t>based</a:t>
          </a:r>
          <a:r>
            <a:rPr lang="cs-CZ" sz="1800" dirty="0"/>
            <a:t> </a:t>
          </a:r>
          <a:r>
            <a:rPr lang="cs-CZ" sz="1800" dirty="0" err="1"/>
            <a:t>reimbursement</a:t>
          </a:r>
          <a:endParaRPr lang="cs-CZ" sz="1800" dirty="0"/>
        </a:p>
      </dgm:t>
    </dgm:pt>
    <dgm:pt modelId="{51774526-FCE3-47AC-A6FB-945A6BBE3E36}" type="parTrans" cxnId="{9A94AFA0-AB64-4108-830F-3D7BF15D7CF9}">
      <dgm:prSet/>
      <dgm:spPr/>
      <dgm:t>
        <a:bodyPr/>
        <a:lstStyle/>
        <a:p>
          <a:endParaRPr lang="cs-CZ"/>
        </a:p>
      </dgm:t>
    </dgm:pt>
    <dgm:pt modelId="{C54EDA5F-3AE6-4B01-8A87-96DFEFFBFB5C}" type="sibTrans" cxnId="{9A94AFA0-AB64-4108-830F-3D7BF15D7CF9}">
      <dgm:prSet/>
      <dgm:spPr/>
      <dgm:t>
        <a:bodyPr/>
        <a:lstStyle/>
        <a:p>
          <a:endParaRPr lang="cs-CZ"/>
        </a:p>
      </dgm:t>
    </dgm:pt>
    <dgm:pt modelId="{DB7B9775-5833-4680-B83F-2D37B2F7B5FA}">
      <dgm:prSet phldrT="[Text]"/>
      <dgm:spPr>
        <a:solidFill>
          <a:srgbClr val="A40071"/>
        </a:solidFill>
      </dgm:spPr>
      <dgm:t>
        <a:bodyPr/>
        <a:lstStyle/>
        <a:p>
          <a:r>
            <a:rPr lang="cs-CZ" dirty="0"/>
            <a:t>Evidence </a:t>
          </a:r>
          <a:r>
            <a:rPr lang="cs-CZ" dirty="0" err="1"/>
            <a:t>regarding</a:t>
          </a:r>
          <a:r>
            <a:rPr lang="cs-CZ" dirty="0"/>
            <a:t> </a:t>
          </a:r>
          <a:r>
            <a:rPr lang="cs-CZ" dirty="0" err="1"/>
            <a:t>decision</a:t>
          </a:r>
          <a:r>
            <a:rPr lang="cs-CZ" dirty="0"/>
            <a:t> </a:t>
          </a:r>
          <a:r>
            <a:rPr lang="cs-CZ" dirty="0" err="1"/>
            <a:t>uncertainty</a:t>
          </a:r>
          <a:endParaRPr lang="cs-CZ" dirty="0"/>
        </a:p>
      </dgm:t>
    </dgm:pt>
    <dgm:pt modelId="{4AF76FAC-6117-4AAF-9626-73798492688E}" type="parTrans" cxnId="{7EB8B5B6-93DE-46D1-A9B5-FF09BAF4C5F2}">
      <dgm:prSet/>
      <dgm:spPr/>
      <dgm:t>
        <a:bodyPr/>
        <a:lstStyle/>
        <a:p>
          <a:endParaRPr lang="cs-CZ"/>
        </a:p>
      </dgm:t>
    </dgm:pt>
    <dgm:pt modelId="{D86D205D-D096-42CE-8AE3-8D27BB969DE1}" type="sibTrans" cxnId="{7EB8B5B6-93DE-46D1-A9B5-FF09BAF4C5F2}">
      <dgm:prSet/>
      <dgm:spPr/>
      <dgm:t>
        <a:bodyPr/>
        <a:lstStyle/>
        <a:p>
          <a:endParaRPr lang="cs-CZ"/>
        </a:p>
      </dgm:t>
    </dgm:pt>
    <dgm:pt modelId="{1CEE8F00-6C40-4129-9F6B-E145321FCBA7}">
      <dgm:prSet phldrT="[Text]" custT="1"/>
      <dgm:spPr>
        <a:solidFill>
          <a:srgbClr val="A40071"/>
        </a:solidFill>
      </dgm:spPr>
      <dgm:t>
        <a:bodyPr/>
        <a:lstStyle/>
        <a:p>
          <a:r>
            <a:rPr lang="cs-CZ" sz="1800" dirty="0" err="1"/>
            <a:t>Coverage</a:t>
          </a:r>
          <a:r>
            <a:rPr lang="cs-CZ" sz="1800" dirty="0"/>
            <a:t> </a:t>
          </a:r>
          <a:r>
            <a:rPr lang="cs-CZ" sz="1800" dirty="0" err="1"/>
            <a:t>with</a:t>
          </a:r>
          <a:r>
            <a:rPr lang="cs-CZ" sz="1800" dirty="0"/>
            <a:t> evidence development</a:t>
          </a:r>
        </a:p>
      </dgm:t>
    </dgm:pt>
    <dgm:pt modelId="{2D9D6627-249F-4B0B-8996-3192E05AFE2E}" type="parTrans" cxnId="{681CCB03-0452-4E97-A623-B301DFD6D632}">
      <dgm:prSet/>
      <dgm:spPr/>
      <dgm:t>
        <a:bodyPr/>
        <a:lstStyle/>
        <a:p>
          <a:endParaRPr lang="cs-CZ"/>
        </a:p>
      </dgm:t>
    </dgm:pt>
    <dgm:pt modelId="{9CCAA561-5F37-4564-B97E-A38B1F82648D}" type="sibTrans" cxnId="{681CCB03-0452-4E97-A623-B301DFD6D632}">
      <dgm:prSet/>
      <dgm:spPr/>
      <dgm:t>
        <a:bodyPr/>
        <a:lstStyle/>
        <a:p>
          <a:endParaRPr lang="cs-CZ"/>
        </a:p>
      </dgm:t>
    </dgm:pt>
    <dgm:pt modelId="{D29C4CE5-77C7-462D-995B-78CD0171D7C2}">
      <dgm:prSet phldrT="[Text]" custT="1"/>
      <dgm:spPr>
        <a:solidFill>
          <a:srgbClr val="FFE5F7"/>
        </a:solidFill>
      </dgm:spPr>
      <dgm:t>
        <a:bodyPr/>
        <a:lstStyle/>
        <a:p>
          <a:r>
            <a:rPr lang="cs-CZ" sz="2000" b="1" dirty="0"/>
            <a:t>Objective</a:t>
          </a:r>
        </a:p>
      </dgm:t>
    </dgm:pt>
    <dgm:pt modelId="{77FD7879-B795-4871-8BC1-C97B2E59299F}" type="parTrans" cxnId="{812593CB-8400-4E7D-9EC2-81A7DF3DECAA}">
      <dgm:prSet/>
      <dgm:spPr/>
      <dgm:t>
        <a:bodyPr/>
        <a:lstStyle/>
        <a:p>
          <a:endParaRPr lang="cs-CZ"/>
        </a:p>
      </dgm:t>
    </dgm:pt>
    <dgm:pt modelId="{36C89736-A2A2-4168-85D5-EA9815ED2788}" type="sibTrans" cxnId="{812593CB-8400-4E7D-9EC2-81A7DF3DECAA}">
      <dgm:prSet/>
      <dgm:spPr/>
      <dgm:t>
        <a:bodyPr/>
        <a:lstStyle/>
        <a:p>
          <a:endParaRPr lang="cs-CZ"/>
        </a:p>
      </dgm:t>
    </dgm:pt>
    <dgm:pt modelId="{26CB9D19-4806-4799-9B72-E35BA9633C3C}">
      <dgm:prSet phldrT="[Text]" custT="1"/>
      <dgm:spPr>
        <a:solidFill>
          <a:srgbClr val="FFE5F7"/>
        </a:solidFill>
      </dgm:spPr>
      <dgm:t>
        <a:bodyPr/>
        <a:lstStyle/>
        <a:p>
          <a:r>
            <a:rPr lang="cs-CZ" sz="2000" b="1" dirty="0"/>
            <a:t>Monitoring</a:t>
          </a:r>
        </a:p>
      </dgm:t>
    </dgm:pt>
    <dgm:pt modelId="{C693771F-6EE9-4CC8-A324-99519E3A6176}" type="parTrans" cxnId="{A6A9AE98-DD26-4F0F-BE40-7880BE2F0D05}">
      <dgm:prSet/>
      <dgm:spPr/>
      <dgm:t>
        <a:bodyPr/>
        <a:lstStyle/>
        <a:p>
          <a:endParaRPr lang="cs-CZ"/>
        </a:p>
      </dgm:t>
    </dgm:pt>
    <dgm:pt modelId="{CDF389C5-9DCC-414E-B953-4596F914BB06}" type="sibTrans" cxnId="{A6A9AE98-DD26-4F0F-BE40-7880BE2F0D05}">
      <dgm:prSet/>
      <dgm:spPr/>
      <dgm:t>
        <a:bodyPr/>
        <a:lstStyle/>
        <a:p>
          <a:endParaRPr lang="cs-CZ"/>
        </a:p>
      </dgm:t>
    </dgm:pt>
    <dgm:pt modelId="{D25A0E19-A099-46D3-A464-D6A92C41A04C}">
      <dgm:prSet phldrT="[Text]" custT="1"/>
      <dgm:spPr>
        <a:solidFill>
          <a:srgbClr val="FFE5F7"/>
        </a:solidFill>
      </dgm:spPr>
      <dgm:t>
        <a:bodyPr/>
        <a:lstStyle/>
        <a:p>
          <a:r>
            <a:rPr lang="cs-CZ" sz="2000" b="1" dirty="0"/>
            <a:t>Instruments</a:t>
          </a:r>
        </a:p>
      </dgm:t>
    </dgm:pt>
    <dgm:pt modelId="{F6121720-86AC-4A8D-8449-4AC7D2F9DA07}" type="parTrans" cxnId="{4D09D032-F7B0-43E2-BF6F-9C97E0AE866E}">
      <dgm:prSet/>
      <dgm:spPr/>
      <dgm:t>
        <a:bodyPr/>
        <a:lstStyle/>
        <a:p>
          <a:endParaRPr lang="cs-CZ"/>
        </a:p>
      </dgm:t>
    </dgm:pt>
    <dgm:pt modelId="{B69FE0FF-EFA7-4A9F-8EAC-1E96B637A2C5}" type="sibTrans" cxnId="{4D09D032-F7B0-43E2-BF6F-9C97E0AE866E}">
      <dgm:prSet/>
      <dgm:spPr/>
      <dgm:t>
        <a:bodyPr/>
        <a:lstStyle/>
        <a:p>
          <a:endParaRPr lang="cs-CZ"/>
        </a:p>
      </dgm:t>
    </dgm:pt>
    <dgm:pt modelId="{26450123-B875-4B7B-A9A0-E302C2FBDB4E}">
      <dgm:prSet phldrT="[Text]"/>
      <dgm:spPr>
        <a:solidFill>
          <a:srgbClr val="FFE5F7"/>
        </a:solidFill>
      </dgm:spPr>
      <dgm:t>
        <a:bodyPr/>
        <a:lstStyle/>
        <a:p>
          <a:endParaRPr lang="cs-CZ" dirty="0"/>
        </a:p>
      </dgm:t>
    </dgm:pt>
    <dgm:pt modelId="{06D0CF8D-FEE2-405E-A219-3F521DA1315D}" type="parTrans" cxnId="{845E99CA-4452-497A-A397-E447FFBD9648}">
      <dgm:prSet/>
      <dgm:spPr/>
      <dgm:t>
        <a:bodyPr/>
        <a:lstStyle/>
        <a:p>
          <a:endParaRPr lang="cs-CZ"/>
        </a:p>
      </dgm:t>
    </dgm:pt>
    <dgm:pt modelId="{02BF821F-F2AB-452C-9235-21ABA7B3BB1C}" type="sibTrans" cxnId="{845E99CA-4452-497A-A397-E447FFBD9648}">
      <dgm:prSet/>
      <dgm:spPr/>
      <dgm:t>
        <a:bodyPr/>
        <a:lstStyle/>
        <a:p>
          <a:endParaRPr lang="cs-CZ"/>
        </a:p>
      </dgm:t>
    </dgm:pt>
    <dgm:pt modelId="{E82C9740-EA56-4DC6-A4A5-8F3D297B3243}">
      <dgm:prSet custT="1"/>
      <dgm:spPr>
        <a:solidFill>
          <a:srgbClr val="A40071"/>
        </a:solidFill>
      </dgm:spPr>
      <dgm:t>
        <a:bodyPr/>
        <a:lstStyle/>
        <a:p>
          <a:r>
            <a:rPr lang="cs-CZ" sz="1800" dirty="0" err="1"/>
            <a:t>Outcome</a:t>
          </a:r>
          <a:r>
            <a:rPr lang="cs-CZ" sz="1800" dirty="0"/>
            <a:t> </a:t>
          </a:r>
          <a:r>
            <a:rPr lang="cs-CZ" sz="1800" dirty="0" err="1"/>
            <a:t>guarantees</a:t>
          </a:r>
          <a:endParaRPr lang="cs-CZ" sz="1800" dirty="0"/>
        </a:p>
      </dgm:t>
    </dgm:pt>
    <dgm:pt modelId="{22178D90-4EC0-4B9C-A307-76F4C5962D0B}" type="parTrans" cxnId="{29E69A35-0A81-4C11-9B44-FDF3DEFBF0EE}">
      <dgm:prSet/>
      <dgm:spPr/>
      <dgm:t>
        <a:bodyPr/>
        <a:lstStyle/>
        <a:p>
          <a:endParaRPr lang="cs-CZ"/>
        </a:p>
      </dgm:t>
    </dgm:pt>
    <dgm:pt modelId="{15A9E59F-6A1A-4C79-9C62-2F00AA6C73F2}" type="sibTrans" cxnId="{29E69A35-0A81-4C11-9B44-FDF3DEFBF0EE}">
      <dgm:prSet/>
      <dgm:spPr/>
      <dgm:t>
        <a:bodyPr/>
        <a:lstStyle/>
        <a:p>
          <a:endParaRPr lang="cs-CZ"/>
        </a:p>
      </dgm:t>
    </dgm:pt>
    <dgm:pt modelId="{E9FA3B47-306F-41D1-BA24-745BEA29A36D}">
      <dgm:prSet custT="1"/>
      <dgm:spPr>
        <a:solidFill>
          <a:srgbClr val="A40071"/>
        </a:solidFill>
      </dgm:spPr>
      <dgm:t>
        <a:bodyPr/>
        <a:lstStyle/>
        <a:p>
          <a:r>
            <a:rPr lang="cs-CZ" sz="1800" dirty="0" err="1"/>
            <a:t>Patient</a:t>
          </a:r>
          <a:r>
            <a:rPr lang="cs-CZ" sz="1800" dirty="0"/>
            <a:t> </a:t>
          </a:r>
          <a:r>
            <a:rPr lang="cs-CZ" sz="1800" dirty="0" err="1"/>
            <a:t>elegibility</a:t>
          </a:r>
          <a:r>
            <a:rPr lang="cs-CZ" sz="1800" dirty="0"/>
            <a:t> </a:t>
          </a:r>
          <a:r>
            <a:rPr lang="cs-CZ" sz="1800" dirty="0" err="1"/>
            <a:t>with</a:t>
          </a:r>
          <a:r>
            <a:rPr lang="cs-CZ" sz="1800" dirty="0"/>
            <a:t> </a:t>
          </a:r>
          <a:r>
            <a:rPr lang="cs-CZ" sz="1800" dirty="0" err="1"/>
            <a:t>conditional</a:t>
          </a:r>
          <a:r>
            <a:rPr lang="cs-CZ" sz="1800" dirty="0"/>
            <a:t> </a:t>
          </a:r>
          <a:r>
            <a:rPr lang="cs-CZ" sz="1800" dirty="0" err="1"/>
            <a:t>treatment</a:t>
          </a:r>
          <a:r>
            <a:rPr lang="cs-CZ" sz="1800" dirty="0"/>
            <a:t> </a:t>
          </a:r>
          <a:r>
            <a:rPr lang="cs-CZ" sz="1800" dirty="0" err="1"/>
            <a:t>continuation</a:t>
          </a:r>
          <a:endParaRPr lang="cs-CZ" sz="1800" dirty="0"/>
        </a:p>
      </dgm:t>
    </dgm:pt>
    <dgm:pt modelId="{84575C94-9FD2-49CE-BD96-E03A1D396A51}" type="parTrans" cxnId="{E484493F-B195-49FC-BF35-C6476B33016D}">
      <dgm:prSet/>
      <dgm:spPr/>
      <dgm:t>
        <a:bodyPr/>
        <a:lstStyle/>
        <a:p>
          <a:endParaRPr lang="cs-CZ"/>
        </a:p>
      </dgm:t>
    </dgm:pt>
    <dgm:pt modelId="{B315AC77-18AA-47BD-810A-9D23EEEF1F2B}" type="sibTrans" cxnId="{E484493F-B195-49FC-BF35-C6476B33016D}">
      <dgm:prSet/>
      <dgm:spPr/>
      <dgm:t>
        <a:bodyPr/>
        <a:lstStyle/>
        <a:p>
          <a:endParaRPr lang="cs-CZ"/>
        </a:p>
      </dgm:t>
    </dgm:pt>
    <dgm:pt modelId="{1475C57B-FD77-40C5-933B-1FA82BB8BE34}" type="pres">
      <dgm:prSet presAssocID="{5EAB167D-9C33-4B44-ADCB-A3311404EA00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A882FB5F-B271-408A-A3E1-21C5D0C26C76}" type="pres">
      <dgm:prSet presAssocID="{5EAB167D-9C33-4B44-ADCB-A3311404EA00}" presName="hierFlow" presStyleCnt="0"/>
      <dgm:spPr/>
    </dgm:pt>
    <dgm:pt modelId="{71653680-6B39-42DE-ACD9-A6E0CFEE9B11}" type="pres">
      <dgm:prSet presAssocID="{5EAB167D-9C33-4B44-ADCB-A3311404EA00}" presName="firstBuf" presStyleCnt="0"/>
      <dgm:spPr/>
    </dgm:pt>
    <dgm:pt modelId="{AAD48D3F-B5A9-4310-9827-D5B8293E03DD}" type="pres">
      <dgm:prSet presAssocID="{5EAB167D-9C33-4B44-ADCB-A3311404EA00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59683C7-D5D0-4E22-80D6-DE2399172EA8}" type="pres">
      <dgm:prSet presAssocID="{0B0E4EA1-3D42-414E-B3ED-47D1C43A84DB}" presName="Name14" presStyleCnt="0"/>
      <dgm:spPr/>
    </dgm:pt>
    <dgm:pt modelId="{A167BF31-8DEA-4422-AFCF-A2895524BACE}" type="pres">
      <dgm:prSet presAssocID="{0B0E4EA1-3D42-414E-B3ED-47D1C43A84DB}" presName="level1Shape" presStyleLbl="node0" presStyleIdx="0" presStyleCnt="1" custScaleX="281206">
        <dgm:presLayoutVars>
          <dgm:chPref val="3"/>
        </dgm:presLayoutVars>
      </dgm:prSet>
      <dgm:spPr/>
    </dgm:pt>
    <dgm:pt modelId="{E0A33762-1B42-46FF-9D70-E5625241EDED}" type="pres">
      <dgm:prSet presAssocID="{0B0E4EA1-3D42-414E-B3ED-47D1C43A84DB}" presName="hierChild2" presStyleCnt="0"/>
      <dgm:spPr/>
    </dgm:pt>
    <dgm:pt modelId="{80A25D3A-359A-4057-8C6D-CCE35472A910}" type="pres">
      <dgm:prSet presAssocID="{E40B9FAA-351B-4395-B503-68E008FA00C9}" presName="Name19" presStyleLbl="parChTrans1D2" presStyleIdx="0" presStyleCnt="2"/>
      <dgm:spPr/>
    </dgm:pt>
    <dgm:pt modelId="{45D9EBBA-228F-4D66-AB8A-70E7002BDDFA}" type="pres">
      <dgm:prSet presAssocID="{491B77F2-178D-4978-8885-2A96F241E444}" presName="Name21" presStyleCnt="0"/>
      <dgm:spPr/>
    </dgm:pt>
    <dgm:pt modelId="{7A5C60E2-D80C-4001-8BB5-897EE0C36424}" type="pres">
      <dgm:prSet presAssocID="{491B77F2-178D-4978-8885-2A96F241E444}" presName="level2Shape" presStyleLbl="node2" presStyleIdx="0" presStyleCnt="2" custScaleX="168016"/>
      <dgm:spPr/>
    </dgm:pt>
    <dgm:pt modelId="{75613C94-18A8-4806-9957-9CF3547C8B0C}" type="pres">
      <dgm:prSet presAssocID="{491B77F2-178D-4978-8885-2A96F241E444}" presName="hierChild3" presStyleCnt="0"/>
      <dgm:spPr/>
    </dgm:pt>
    <dgm:pt modelId="{71194C34-9291-4E7A-BA1C-154CAA6CBABC}" type="pres">
      <dgm:prSet presAssocID="{51774526-FCE3-47AC-A6FB-945A6BBE3E36}" presName="Name19" presStyleLbl="parChTrans1D3" presStyleIdx="0" presStyleCnt="2"/>
      <dgm:spPr/>
    </dgm:pt>
    <dgm:pt modelId="{F4D4140F-60E5-48B7-B961-F3818F8FEB99}" type="pres">
      <dgm:prSet presAssocID="{4E66F8C5-4BCB-4680-9664-9E6C1B6925AA}" presName="Name21" presStyleCnt="0"/>
      <dgm:spPr/>
    </dgm:pt>
    <dgm:pt modelId="{80BEFD90-B3FA-491B-8769-4FA28C72A0CC}" type="pres">
      <dgm:prSet presAssocID="{4E66F8C5-4BCB-4680-9664-9E6C1B6925AA}" presName="level2Shape" presStyleLbl="node3" presStyleIdx="0" presStyleCnt="2" custScaleX="223953"/>
      <dgm:spPr/>
    </dgm:pt>
    <dgm:pt modelId="{5F63FF1B-7B7C-4475-AA01-710540BE1148}" type="pres">
      <dgm:prSet presAssocID="{4E66F8C5-4BCB-4680-9664-9E6C1B6925AA}" presName="hierChild3" presStyleCnt="0"/>
      <dgm:spPr/>
    </dgm:pt>
    <dgm:pt modelId="{100DC28D-711C-49D4-A65F-042CE452CA96}" type="pres">
      <dgm:prSet presAssocID="{22178D90-4EC0-4B9C-A307-76F4C5962D0B}" presName="Name19" presStyleLbl="parChTrans1D4" presStyleIdx="0" presStyleCnt="2"/>
      <dgm:spPr/>
    </dgm:pt>
    <dgm:pt modelId="{D2820072-4969-47D8-855A-44EBAA0D2084}" type="pres">
      <dgm:prSet presAssocID="{E82C9740-EA56-4DC6-A4A5-8F3D297B3243}" presName="Name21" presStyleCnt="0"/>
      <dgm:spPr/>
    </dgm:pt>
    <dgm:pt modelId="{1E661728-17A3-4151-9027-E3A50C4AC648}" type="pres">
      <dgm:prSet presAssocID="{E82C9740-EA56-4DC6-A4A5-8F3D297B3243}" presName="level2Shape" presStyleLbl="node4" presStyleIdx="0" presStyleCnt="2" custScaleX="147158" custLinFactNeighborY="-336"/>
      <dgm:spPr/>
    </dgm:pt>
    <dgm:pt modelId="{2D9B8AFA-CA51-4144-BA70-9F59F5B13AF3}" type="pres">
      <dgm:prSet presAssocID="{E82C9740-EA56-4DC6-A4A5-8F3D297B3243}" presName="hierChild3" presStyleCnt="0"/>
      <dgm:spPr/>
    </dgm:pt>
    <dgm:pt modelId="{F03FA295-B55D-48ED-AF5C-59FEB946FD46}" type="pres">
      <dgm:prSet presAssocID="{84575C94-9FD2-49CE-BD96-E03A1D396A51}" presName="Name19" presStyleLbl="parChTrans1D4" presStyleIdx="1" presStyleCnt="2"/>
      <dgm:spPr/>
    </dgm:pt>
    <dgm:pt modelId="{5C0E8732-FD51-4435-AA3D-6655D25A74A3}" type="pres">
      <dgm:prSet presAssocID="{E9FA3B47-306F-41D1-BA24-745BEA29A36D}" presName="Name21" presStyleCnt="0"/>
      <dgm:spPr/>
    </dgm:pt>
    <dgm:pt modelId="{5078F451-991B-47A0-BA07-3C6F12FF0B82}" type="pres">
      <dgm:prSet presAssocID="{E9FA3B47-306F-41D1-BA24-745BEA29A36D}" presName="level2Shape" presStyleLbl="node4" presStyleIdx="1" presStyleCnt="2" custScaleX="250116"/>
      <dgm:spPr/>
    </dgm:pt>
    <dgm:pt modelId="{85329FFA-3EF1-4451-8BA1-8031DB00D2DA}" type="pres">
      <dgm:prSet presAssocID="{E9FA3B47-306F-41D1-BA24-745BEA29A36D}" presName="hierChild3" presStyleCnt="0"/>
      <dgm:spPr/>
    </dgm:pt>
    <dgm:pt modelId="{19E67AE5-5A46-4C75-9EE4-FD6D0C856C92}" type="pres">
      <dgm:prSet presAssocID="{4AF76FAC-6117-4AAF-9626-73798492688E}" presName="Name19" presStyleLbl="parChTrans1D2" presStyleIdx="1" presStyleCnt="2"/>
      <dgm:spPr/>
    </dgm:pt>
    <dgm:pt modelId="{05D79486-AC14-4752-A84A-E0BF98BFFDC1}" type="pres">
      <dgm:prSet presAssocID="{DB7B9775-5833-4680-B83F-2D37B2F7B5FA}" presName="Name21" presStyleCnt="0"/>
      <dgm:spPr/>
    </dgm:pt>
    <dgm:pt modelId="{300AE302-927E-4332-B1B9-E52F15A2FEA8}" type="pres">
      <dgm:prSet presAssocID="{DB7B9775-5833-4680-B83F-2D37B2F7B5FA}" presName="level2Shape" presStyleLbl="node2" presStyleIdx="1" presStyleCnt="2" custScaleX="268920"/>
      <dgm:spPr/>
    </dgm:pt>
    <dgm:pt modelId="{EE3AEE02-7143-461F-83AF-E03D8B634F84}" type="pres">
      <dgm:prSet presAssocID="{DB7B9775-5833-4680-B83F-2D37B2F7B5FA}" presName="hierChild3" presStyleCnt="0"/>
      <dgm:spPr/>
    </dgm:pt>
    <dgm:pt modelId="{8EC8DC81-9B98-4728-984C-4D907C3DCFA3}" type="pres">
      <dgm:prSet presAssocID="{2D9D6627-249F-4B0B-8996-3192E05AFE2E}" presName="Name19" presStyleLbl="parChTrans1D3" presStyleIdx="1" presStyleCnt="2"/>
      <dgm:spPr/>
    </dgm:pt>
    <dgm:pt modelId="{CA367815-38BB-4B1C-86FA-C2BA8EAFD098}" type="pres">
      <dgm:prSet presAssocID="{1CEE8F00-6C40-4129-9F6B-E145321FCBA7}" presName="Name21" presStyleCnt="0"/>
      <dgm:spPr/>
    </dgm:pt>
    <dgm:pt modelId="{F8B9C5DB-53E9-44E9-92CB-10D41A0AF431}" type="pres">
      <dgm:prSet presAssocID="{1CEE8F00-6C40-4129-9F6B-E145321FCBA7}" presName="level2Shape" presStyleLbl="node3" presStyleIdx="1" presStyleCnt="2" custScaleX="234595"/>
      <dgm:spPr/>
    </dgm:pt>
    <dgm:pt modelId="{54BAAC56-CE4A-4088-AEEF-EBB6E8838F7A}" type="pres">
      <dgm:prSet presAssocID="{1CEE8F00-6C40-4129-9F6B-E145321FCBA7}" presName="hierChild3" presStyleCnt="0"/>
      <dgm:spPr/>
    </dgm:pt>
    <dgm:pt modelId="{B4489ACE-A97A-4777-9C38-9AD04BD39CCF}" type="pres">
      <dgm:prSet presAssocID="{5EAB167D-9C33-4B44-ADCB-A3311404EA00}" presName="bgShapesFlow" presStyleCnt="0"/>
      <dgm:spPr/>
    </dgm:pt>
    <dgm:pt modelId="{4F5E07E1-8D68-43FD-BA0B-DE9D0DFD881D}" type="pres">
      <dgm:prSet presAssocID="{D29C4CE5-77C7-462D-995B-78CD0171D7C2}" presName="rectComp" presStyleCnt="0"/>
      <dgm:spPr/>
    </dgm:pt>
    <dgm:pt modelId="{0D4D1F88-F67C-44A3-A8DD-C11D47E1A4B0}" type="pres">
      <dgm:prSet presAssocID="{D29C4CE5-77C7-462D-995B-78CD0171D7C2}" presName="bgRect" presStyleLbl="bgShp" presStyleIdx="0" presStyleCnt="4"/>
      <dgm:spPr/>
    </dgm:pt>
    <dgm:pt modelId="{47CC6CE3-412C-479B-9DAB-0C71CCABCCEF}" type="pres">
      <dgm:prSet presAssocID="{D29C4CE5-77C7-462D-995B-78CD0171D7C2}" presName="bgRectTx" presStyleLbl="bgShp" presStyleIdx="0" presStyleCnt="4">
        <dgm:presLayoutVars>
          <dgm:bulletEnabled val="1"/>
        </dgm:presLayoutVars>
      </dgm:prSet>
      <dgm:spPr/>
    </dgm:pt>
    <dgm:pt modelId="{0734E36D-CF55-4EDE-A3AC-9D8C41D52B42}" type="pres">
      <dgm:prSet presAssocID="{D29C4CE5-77C7-462D-995B-78CD0171D7C2}" presName="spComp" presStyleCnt="0"/>
      <dgm:spPr/>
    </dgm:pt>
    <dgm:pt modelId="{97BE874A-5569-481B-AF0D-FCA6B4810E7F}" type="pres">
      <dgm:prSet presAssocID="{D29C4CE5-77C7-462D-995B-78CD0171D7C2}" presName="vSp" presStyleCnt="0"/>
      <dgm:spPr/>
    </dgm:pt>
    <dgm:pt modelId="{DAAA0790-4A49-47EB-A097-E6314190C79A}" type="pres">
      <dgm:prSet presAssocID="{26CB9D19-4806-4799-9B72-E35BA9633C3C}" presName="rectComp" presStyleCnt="0"/>
      <dgm:spPr/>
    </dgm:pt>
    <dgm:pt modelId="{74AAF650-721A-4FEC-9105-EBB6B34C9192}" type="pres">
      <dgm:prSet presAssocID="{26CB9D19-4806-4799-9B72-E35BA9633C3C}" presName="bgRect" presStyleLbl="bgShp" presStyleIdx="1" presStyleCnt="4" custLinFactNeighborX="-8264"/>
      <dgm:spPr/>
    </dgm:pt>
    <dgm:pt modelId="{072A39DC-3AFD-4F39-AED7-C4D88953324A}" type="pres">
      <dgm:prSet presAssocID="{26CB9D19-4806-4799-9B72-E35BA9633C3C}" presName="bgRectTx" presStyleLbl="bgShp" presStyleIdx="1" presStyleCnt="4">
        <dgm:presLayoutVars>
          <dgm:bulletEnabled val="1"/>
        </dgm:presLayoutVars>
      </dgm:prSet>
      <dgm:spPr/>
    </dgm:pt>
    <dgm:pt modelId="{5A4B7678-3D31-406F-A98B-86C2B1CFE661}" type="pres">
      <dgm:prSet presAssocID="{26CB9D19-4806-4799-9B72-E35BA9633C3C}" presName="spComp" presStyleCnt="0"/>
      <dgm:spPr/>
    </dgm:pt>
    <dgm:pt modelId="{E518750C-F38F-40A1-B0F5-766136E5793C}" type="pres">
      <dgm:prSet presAssocID="{26CB9D19-4806-4799-9B72-E35BA9633C3C}" presName="vSp" presStyleCnt="0"/>
      <dgm:spPr/>
    </dgm:pt>
    <dgm:pt modelId="{E51645B2-94C6-4ED9-9411-1530A566F966}" type="pres">
      <dgm:prSet presAssocID="{D25A0E19-A099-46D3-A464-D6A92C41A04C}" presName="rectComp" presStyleCnt="0"/>
      <dgm:spPr/>
    </dgm:pt>
    <dgm:pt modelId="{BBD8E252-5FC8-40EE-91AF-D83FBED723D4}" type="pres">
      <dgm:prSet presAssocID="{D25A0E19-A099-46D3-A464-D6A92C41A04C}" presName="bgRect" presStyleLbl="bgShp" presStyleIdx="2" presStyleCnt="4"/>
      <dgm:spPr/>
    </dgm:pt>
    <dgm:pt modelId="{A44CD235-3C31-4DD1-894D-207E5A38374B}" type="pres">
      <dgm:prSet presAssocID="{D25A0E19-A099-46D3-A464-D6A92C41A04C}" presName="bgRectTx" presStyleLbl="bgShp" presStyleIdx="2" presStyleCnt="4">
        <dgm:presLayoutVars>
          <dgm:bulletEnabled val="1"/>
        </dgm:presLayoutVars>
      </dgm:prSet>
      <dgm:spPr/>
    </dgm:pt>
    <dgm:pt modelId="{CF5A3AB3-13BA-4761-8267-043E26AFE4FE}" type="pres">
      <dgm:prSet presAssocID="{D25A0E19-A099-46D3-A464-D6A92C41A04C}" presName="spComp" presStyleCnt="0"/>
      <dgm:spPr/>
    </dgm:pt>
    <dgm:pt modelId="{548FF067-B77B-4EB9-95D7-518F52AFE1E8}" type="pres">
      <dgm:prSet presAssocID="{D25A0E19-A099-46D3-A464-D6A92C41A04C}" presName="vSp" presStyleCnt="0"/>
      <dgm:spPr/>
    </dgm:pt>
    <dgm:pt modelId="{BBA01025-8753-4A80-BC39-870BFAE1D4D1}" type="pres">
      <dgm:prSet presAssocID="{26450123-B875-4B7B-A9A0-E302C2FBDB4E}" presName="rectComp" presStyleCnt="0"/>
      <dgm:spPr/>
    </dgm:pt>
    <dgm:pt modelId="{692CFC3C-9C41-4DF0-8BD7-EAA3DC169251}" type="pres">
      <dgm:prSet presAssocID="{26450123-B875-4B7B-A9A0-E302C2FBDB4E}" presName="bgRect" presStyleLbl="bgShp" presStyleIdx="3" presStyleCnt="4" custLinFactNeighborY="-52"/>
      <dgm:spPr/>
    </dgm:pt>
    <dgm:pt modelId="{F7F4E6A6-92B0-47D9-A77A-D4C006B76869}" type="pres">
      <dgm:prSet presAssocID="{26450123-B875-4B7B-A9A0-E302C2FBDB4E}" presName="bgRectTx" presStyleLbl="bgShp" presStyleIdx="3" presStyleCnt="4">
        <dgm:presLayoutVars>
          <dgm:bulletEnabled val="1"/>
        </dgm:presLayoutVars>
      </dgm:prSet>
      <dgm:spPr/>
    </dgm:pt>
  </dgm:ptLst>
  <dgm:cxnLst>
    <dgm:cxn modelId="{681CCB03-0452-4E97-A623-B301DFD6D632}" srcId="{DB7B9775-5833-4680-B83F-2D37B2F7B5FA}" destId="{1CEE8F00-6C40-4129-9F6B-E145321FCBA7}" srcOrd="0" destOrd="0" parTransId="{2D9D6627-249F-4B0B-8996-3192E05AFE2E}" sibTransId="{9CCAA561-5F37-4564-B97E-A38B1F82648D}"/>
    <dgm:cxn modelId="{7D102304-0068-4405-B117-783B7F2C2A90}" type="presOf" srcId="{51774526-FCE3-47AC-A6FB-945A6BBE3E36}" destId="{71194C34-9291-4E7A-BA1C-154CAA6CBABC}" srcOrd="0" destOrd="0" presId="urn:microsoft.com/office/officeart/2005/8/layout/hierarchy6"/>
    <dgm:cxn modelId="{74BC380C-3446-4801-907B-2CDC8F71A3ED}" type="presOf" srcId="{D29C4CE5-77C7-462D-995B-78CD0171D7C2}" destId="{47CC6CE3-412C-479B-9DAB-0C71CCABCCEF}" srcOrd="1" destOrd="0" presId="urn:microsoft.com/office/officeart/2005/8/layout/hierarchy6"/>
    <dgm:cxn modelId="{D3325F1F-8CA9-4A96-B1B0-926AAE89DDE4}" type="presOf" srcId="{E82C9740-EA56-4DC6-A4A5-8F3D297B3243}" destId="{1E661728-17A3-4151-9027-E3A50C4AC648}" srcOrd="0" destOrd="0" presId="urn:microsoft.com/office/officeart/2005/8/layout/hierarchy6"/>
    <dgm:cxn modelId="{51034321-16AA-43A6-8E4A-6A2E8D1090B4}" type="presOf" srcId="{26450123-B875-4B7B-A9A0-E302C2FBDB4E}" destId="{692CFC3C-9C41-4DF0-8BD7-EAA3DC169251}" srcOrd="0" destOrd="0" presId="urn:microsoft.com/office/officeart/2005/8/layout/hierarchy6"/>
    <dgm:cxn modelId="{4D09D032-F7B0-43E2-BF6F-9C97E0AE866E}" srcId="{5EAB167D-9C33-4B44-ADCB-A3311404EA00}" destId="{D25A0E19-A099-46D3-A464-D6A92C41A04C}" srcOrd="3" destOrd="0" parTransId="{F6121720-86AC-4A8D-8449-4AC7D2F9DA07}" sibTransId="{B69FE0FF-EFA7-4A9F-8EAC-1E96B637A2C5}"/>
    <dgm:cxn modelId="{29E69A35-0A81-4C11-9B44-FDF3DEFBF0EE}" srcId="{4E66F8C5-4BCB-4680-9664-9E6C1B6925AA}" destId="{E82C9740-EA56-4DC6-A4A5-8F3D297B3243}" srcOrd="0" destOrd="0" parTransId="{22178D90-4EC0-4B9C-A307-76F4C5962D0B}" sibTransId="{15A9E59F-6A1A-4C79-9C62-2F00AA6C73F2}"/>
    <dgm:cxn modelId="{80DBE93A-01C9-42B9-B08E-74C89AF054D1}" type="presOf" srcId="{D25A0E19-A099-46D3-A464-D6A92C41A04C}" destId="{A44CD235-3C31-4DD1-894D-207E5A38374B}" srcOrd="1" destOrd="0" presId="urn:microsoft.com/office/officeart/2005/8/layout/hierarchy6"/>
    <dgm:cxn modelId="{4421C03E-7C8A-4B26-8EA2-4F3C1FA74238}" type="presOf" srcId="{26450123-B875-4B7B-A9A0-E302C2FBDB4E}" destId="{F7F4E6A6-92B0-47D9-A77A-D4C006B76869}" srcOrd="1" destOrd="0" presId="urn:microsoft.com/office/officeart/2005/8/layout/hierarchy6"/>
    <dgm:cxn modelId="{179EFA3E-A6EB-4791-B85F-B03BC4BEEF82}" type="presOf" srcId="{DB7B9775-5833-4680-B83F-2D37B2F7B5FA}" destId="{300AE302-927E-4332-B1B9-E52F15A2FEA8}" srcOrd="0" destOrd="0" presId="urn:microsoft.com/office/officeart/2005/8/layout/hierarchy6"/>
    <dgm:cxn modelId="{E484493F-B195-49FC-BF35-C6476B33016D}" srcId="{4E66F8C5-4BCB-4680-9664-9E6C1B6925AA}" destId="{E9FA3B47-306F-41D1-BA24-745BEA29A36D}" srcOrd="1" destOrd="0" parTransId="{84575C94-9FD2-49CE-BD96-E03A1D396A51}" sibTransId="{B315AC77-18AA-47BD-810A-9D23EEEF1F2B}"/>
    <dgm:cxn modelId="{C57E445D-023C-451E-A5E0-AC1FC0F0A6A1}" type="presOf" srcId="{E9FA3B47-306F-41D1-BA24-745BEA29A36D}" destId="{5078F451-991B-47A0-BA07-3C6F12FF0B82}" srcOrd="0" destOrd="0" presId="urn:microsoft.com/office/officeart/2005/8/layout/hierarchy6"/>
    <dgm:cxn modelId="{47990746-F921-4832-B207-0164CE061E71}" srcId="{0B0E4EA1-3D42-414E-B3ED-47D1C43A84DB}" destId="{491B77F2-178D-4978-8885-2A96F241E444}" srcOrd="0" destOrd="0" parTransId="{E40B9FAA-351B-4395-B503-68E008FA00C9}" sibTransId="{7D5E858B-E249-4418-AA97-640C20B10E3F}"/>
    <dgm:cxn modelId="{C9802848-1962-4DC9-A93C-CE236E9DFDB1}" type="presOf" srcId="{26CB9D19-4806-4799-9B72-E35BA9633C3C}" destId="{74AAF650-721A-4FEC-9105-EBB6B34C9192}" srcOrd="0" destOrd="0" presId="urn:microsoft.com/office/officeart/2005/8/layout/hierarchy6"/>
    <dgm:cxn modelId="{ECA33F52-3C15-4B92-BB29-9DE957EDD6D1}" type="presOf" srcId="{D29C4CE5-77C7-462D-995B-78CD0171D7C2}" destId="{0D4D1F88-F67C-44A3-A8DD-C11D47E1A4B0}" srcOrd="0" destOrd="0" presId="urn:microsoft.com/office/officeart/2005/8/layout/hierarchy6"/>
    <dgm:cxn modelId="{3BC98055-717C-49FC-ACBA-3F8A77369132}" type="presOf" srcId="{0B0E4EA1-3D42-414E-B3ED-47D1C43A84DB}" destId="{A167BF31-8DEA-4422-AFCF-A2895524BACE}" srcOrd="0" destOrd="0" presId="urn:microsoft.com/office/officeart/2005/8/layout/hierarchy6"/>
    <dgm:cxn modelId="{3C955358-0DC5-47A5-A57C-16900A3A98A0}" type="presOf" srcId="{4E66F8C5-4BCB-4680-9664-9E6C1B6925AA}" destId="{80BEFD90-B3FA-491B-8769-4FA28C72A0CC}" srcOrd="0" destOrd="0" presId="urn:microsoft.com/office/officeart/2005/8/layout/hierarchy6"/>
    <dgm:cxn modelId="{0F3F5B89-3F51-4745-A66B-5DA4B668DADB}" type="presOf" srcId="{491B77F2-178D-4978-8885-2A96F241E444}" destId="{7A5C60E2-D80C-4001-8BB5-897EE0C36424}" srcOrd="0" destOrd="0" presId="urn:microsoft.com/office/officeart/2005/8/layout/hierarchy6"/>
    <dgm:cxn modelId="{1181EB92-286B-4F2C-B6EC-9AA414146E7F}" type="presOf" srcId="{2D9D6627-249F-4B0B-8996-3192E05AFE2E}" destId="{8EC8DC81-9B98-4728-984C-4D907C3DCFA3}" srcOrd="0" destOrd="0" presId="urn:microsoft.com/office/officeart/2005/8/layout/hierarchy6"/>
    <dgm:cxn modelId="{4D3CD293-C18F-4B83-B875-D62F97595DEC}" type="presOf" srcId="{84575C94-9FD2-49CE-BD96-E03A1D396A51}" destId="{F03FA295-B55D-48ED-AF5C-59FEB946FD46}" srcOrd="0" destOrd="0" presId="urn:microsoft.com/office/officeart/2005/8/layout/hierarchy6"/>
    <dgm:cxn modelId="{A6A9AE98-DD26-4F0F-BE40-7880BE2F0D05}" srcId="{5EAB167D-9C33-4B44-ADCB-A3311404EA00}" destId="{26CB9D19-4806-4799-9B72-E35BA9633C3C}" srcOrd="2" destOrd="0" parTransId="{C693771F-6EE9-4CC8-A324-99519E3A6176}" sibTransId="{CDF389C5-9DCC-414E-B953-4596F914BB06}"/>
    <dgm:cxn modelId="{9A94AFA0-AB64-4108-830F-3D7BF15D7CF9}" srcId="{491B77F2-178D-4978-8885-2A96F241E444}" destId="{4E66F8C5-4BCB-4680-9664-9E6C1B6925AA}" srcOrd="0" destOrd="0" parTransId="{51774526-FCE3-47AC-A6FB-945A6BBE3E36}" sibTransId="{C54EDA5F-3AE6-4B01-8A87-96DFEFFBFB5C}"/>
    <dgm:cxn modelId="{6D93C5A5-E499-4DED-AE6B-AAE1976F9D75}" srcId="{5EAB167D-9C33-4B44-ADCB-A3311404EA00}" destId="{0B0E4EA1-3D42-414E-B3ED-47D1C43A84DB}" srcOrd="0" destOrd="0" parTransId="{986F599F-4CB4-473E-AAF4-F57A5DC84813}" sibTransId="{136B75A4-5C36-4E48-9BF3-58C93D55828C}"/>
    <dgm:cxn modelId="{7EB8B5B6-93DE-46D1-A9B5-FF09BAF4C5F2}" srcId="{0B0E4EA1-3D42-414E-B3ED-47D1C43A84DB}" destId="{DB7B9775-5833-4680-B83F-2D37B2F7B5FA}" srcOrd="1" destOrd="0" parTransId="{4AF76FAC-6117-4AAF-9626-73798492688E}" sibTransId="{D86D205D-D096-42CE-8AE3-8D27BB969DE1}"/>
    <dgm:cxn modelId="{6D3EC3B9-318F-4F39-A538-4426A1BE0575}" type="presOf" srcId="{5EAB167D-9C33-4B44-ADCB-A3311404EA00}" destId="{1475C57B-FD77-40C5-933B-1FA82BB8BE34}" srcOrd="0" destOrd="0" presId="urn:microsoft.com/office/officeart/2005/8/layout/hierarchy6"/>
    <dgm:cxn modelId="{932714BA-F596-4634-91E1-E62AD66F6DB8}" type="presOf" srcId="{4AF76FAC-6117-4AAF-9626-73798492688E}" destId="{19E67AE5-5A46-4C75-9EE4-FD6D0C856C92}" srcOrd="0" destOrd="0" presId="urn:microsoft.com/office/officeart/2005/8/layout/hierarchy6"/>
    <dgm:cxn modelId="{2A3E4FC8-2E3E-4737-9637-6733EF6D85DD}" type="presOf" srcId="{26CB9D19-4806-4799-9B72-E35BA9633C3C}" destId="{072A39DC-3AFD-4F39-AED7-C4D88953324A}" srcOrd="1" destOrd="0" presId="urn:microsoft.com/office/officeart/2005/8/layout/hierarchy6"/>
    <dgm:cxn modelId="{845E99CA-4452-497A-A397-E447FFBD9648}" srcId="{5EAB167D-9C33-4B44-ADCB-A3311404EA00}" destId="{26450123-B875-4B7B-A9A0-E302C2FBDB4E}" srcOrd="4" destOrd="0" parTransId="{06D0CF8D-FEE2-405E-A219-3F521DA1315D}" sibTransId="{02BF821F-F2AB-452C-9235-21ABA7B3BB1C}"/>
    <dgm:cxn modelId="{812593CB-8400-4E7D-9EC2-81A7DF3DECAA}" srcId="{5EAB167D-9C33-4B44-ADCB-A3311404EA00}" destId="{D29C4CE5-77C7-462D-995B-78CD0171D7C2}" srcOrd="1" destOrd="0" parTransId="{77FD7879-B795-4871-8BC1-C97B2E59299F}" sibTransId="{36C89736-A2A2-4168-85D5-EA9815ED2788}"/>
    <dgm:cxn modelId="{194253DC-5158-49D1-B59A-3CDBA8B4E5F3}" type="presOf" srcId="{1CEE8F00-6C40-4129-9F6B-E145321FCBA7}" destId="{F8B9C5DB-53E9-44E9-92CB-10D41A0AF431}" srcOrd="0" destOrd="0" presId="urn:microsoft.com/office/officeart/2005/8/layout/hierarchy6"/>
    <dgm:cxn modelId="{FD92E8E0-597D-41E4-A7AA-74E3274722A4}" type="presOf" srcId="{22178D90-4EC0-4B9C-A307-76F4C5962D0B}" destId="{100DC28D-711C-49D4-A65F-042CE452CA96}" srcOrd="0" destOrd="0" presId="urn:microsoft.com/office/officeart/2005/8/layout/hierarchy6"/>
    <dgm:cxn modelId="{A89D7FEC-470F-4A0C-8DFB-2706B5FFB847}" type="presOf" srcId="{E40B9FAA-351B-4395-B503-68E008FA00C9}" destId="{80A25D3A-359A-4057-8C6D-CCE35472A910}" srcOrd="0" destOrd="0" presId="urn:microsoft.com/office/officeart/2005/8/layout/hierarchy6"/>
    <dgm:cxn modelId="{1B70B9FB-4CE8-41DC-94F8-AB967D0BD49D}" type="presOf" srcId="{D25A0E19-A099-46D3-A464-D6A92C41A04C}" destId="{BBD8E252-5FC8-40EE-91AF-D83FBED723D4}" srcOrd="0" destOrd="0" presId="urn:microsoft.com/office/officeart/2005/8/layout/hierarchy6"/>
    <dgm:cxn modelId="{D9C4272F-7A5B-4525-8FFD-F1AA82C6F9B5}" type="presParOf" srcId="{1475C57B-FD77-40C5-933B-1FA82BB8BE34}" destId="{A882FB5F-B271-408A-A3E1-21C5D0C26C76}" srcOrd="0" destOrd="0" presId="urn:microsoft.com/office/officeart/2005/8/layout/hierarchy6"/>
    <dgm:cxn modelId="{74D5E1E1-70C6-46A3-AF29-2F7A82FED4D1}" type="presParOf" srcId="{A882FB5F-B271-408A-A3E1-21C5D0C26C76}" destId="{71653680-6B39-42DE-ACD9-A6E0CFEE9B11}" srcOrd="0" destOrd="0" presId="urn:microsoft.com/office/officeart/2005/8/layout/hierarchy6"/>
    <dgm:cxn modelId="{314B1B41-6398-4635-80E0-88A22078CE1F}" type="presParOf" srcId="{A882FB5F-B271-408A-A3E1-21C5D0C26C76}" destId="{AAD48D3F-B5A9-4310-9827-D5B8293E03DD}" srcOrd="1" destOrd="0" presId="urn:microsoft.com/office/officeart/2005/8/layout/hierarchy6"/>
    <dgm:cxn modelId="{A8A4F3B9-87C9-4E30-A9D5-4A025FC3842F}" type="presParOf" srcId="{AAD48D3F-B5A9-4310-9827-D5B8293E03DD}" destId="{A59683C7-D5D0-4E22-80D6-DE2399172EA8}" srcOrd="0" destOrd="0" presId="urn:microsoft.com/office/officeart/2005/8/layout/hierarchy6"/>
    <dgm:cxn modelId="{5DBB53C5-E131-4AF9-BA18-2B542BF1EA82}" type="presParOf" srcId="{A59683C7-D5D0-4E22-80D6-DE2399172EA8}" destId="{A167BF31-8DEA-4422-AFCF-A2895524BACE}" srcOrd="0" destOrd="0" presId="urn:microsoft.com/office/officeart/2005/8/layout/hierarchy6"/>
    <dgm:cxn modelId="{76F66A37-81DE-4E92-9617-764AF552F682}" type="presParOf" srcId="{A59683C7-D5D0-4E22-80D6-DE2399172EA8}" destId="{E0A33762-1B42-46FF-9D70-E5625241EDED}" srcOrd="1" destOrd="0" presId="urn:microsoft.com/office/officeart/2005/8/layout/hierarchy6"/>
    <dgm:cxn modelId="{42FDE431-4B82-4187-B53C-22663DBA8627}" type="presParOf" srcId="{E0A33762-1B42-46FF-9D70-E5625241EDED}" destId="{80A25D3A-359A-4057-8C6D-CCE35472A910}" srcOrd="0" destOrd="0" presId="urn:microsoft.com/office/officeart/2005/8/layout/hierarchy6"/>
    <dgm:cxn modelId="{B48E4452-AF84-41E0-8663-80D718415E70}" type="presParOf" srcId="{E0A33762-1B42-46FF-9D70-E5625241EDED}" destId="{45D9EBBA-228F-4D66-AB8A-70E7002BDDFA}" srcOrd="1" destOrd="0" presId="urn:microsoft.com/office/officeart/2005/8/layout/hierarchy6"/>
    <dgm:cxn modelId="{A76807D3-4173-4287-9FBD-2076D2BFCB2E}" type="presParOf" srcId="{45D9EBBA-228F-4D66-AB8A-70E7002BDDFA}" destId="{7A5C60E2-D80C-4001-8BB5-897EE0C36424}" srcOrd="0" destOrd="0" presId="urn:microsoft.com/office/officeart/2005/8/layout/hierarchy6"/>
    <dgm:cxn modelId="{7C07984B-68D7-4C2D-9575-26B29C69C71B}" type="presParOf" srcId="{45D9EBBA-228F-4D66-AB8A-70E7002BDDFA}" destId="{75613C94-18A8-4806-9957-9CF3547C8B0C}" srcOrd="1" destOrd="0" presId="urn:microsoft.com/office/officeart/2005/8/layout/hierarchy6"/>
    <dgm:cxn modelId="{7F115A76-2548-472D-8708-94B10F958E99}" type="presParOf" srcId="{75613C94-18A8-4806-9957-9CF3547C8B0C}" destId="{71194C34-9291-4E7A-BA1C-154CAA6CBABC}" srcOrd="0" destOrd="0" presId="urn:microsoft.com/office/officeart/2005/8/layout/hierarchy6"/>
    <dgm:cxn modelId="{3BFB9F2C-F4BB-4417-8C23-15B29AC68552}" type="presParOf" srcId="{75613C94-18A8-4806-9957-9CF3547C8B0C}" destId="{F4D4140F-60E5-48B7-B961-F3818F8FEB99}" srcOrd="1" destOrd="0" presId="urn:microsoft.com/office/officeart/2005/8/layout/hierarchy6"/>
    <dgm:cxn modelId="{334ED1B5-E009-42C7-A52B-A1BAB6B1D32E}" type="presParOf" srcId="{F4D4140F-60E5-48B7-B961-F3818F8FEB99}" destId="{80BEFD90-B3FA-491B-8769-4FA28C72A0CC}" srcOrd="0" destOrd="0" presId="urn:microsoft.com/office/officeart/2005/8/layout/hierarchy6"/>
    <dgm:cxn modelId="{6FEA92A7-C3BD-4B79-9933-5C503216E0AC}" type="presParOf" srcId="{F4D4140F-60E5-48B7-B961-F3818F8FEB99}" destId="{5F63FF1B-7B7C-4475-AA01-710540BE1148}" srcOrd="1" destOrd="0" presId="urn:microsoft.com/office/officeart/2005/8/layout/hierarchy6"/>
    <dgm:cxn modelId="{5E79791F-76E8-4268-A2CA-94BC55DFB132}" type="presParOf" srcId="{5F63FF1B-7B7C-4475-AA01-710540BE1148}" destId="{100DC28D-711C-49D4-A65F-042CE452CA96}" srcOrd="0" destOrd="0" presId="urn:microsoft.com/office/officeart/2005/8/layout/hierarchy6"/>
    <dgm:cxn modelId="{4CA4B3C3-3B0E-423F-87A0-80CEF427A3E1}" type="presParOf" srcId="{5F63FF1B-7B7C-4475-AA01-710540BE1148}" destId="{D2820072-4969-47D8-855A-44EBAA0D2084}" srcOrd="1" destOrd="0" presId="urn:microsoft.com/office/officeart/2005/8/layout/hierarchy6"/>
    <dgm:cxn modelId="{019B7C83-F2E0-4399-99FE-22790CFFA7F8}" type="presParOf" srcId="{D2820072-4969-47D8-855A-44EBAA0D2084}" destId="{1E661728-17A3-4151-9027-E3A50C4AC648}" srcOrd="0" destOrd="0" presId="urn:microsoft.com/office/officeart/2005/8/layout/hierarchy6"/>
    <dgm:cxn modelId="{5D0F14BB-4283-408F-9409-C73B3A448535}" type="presParOf" srcId="{D2820072-4969-47D8-855A-44EBAA0D2084}" destId="{2D9B8AFA-CA51-4144-BA70-9F59F5B13AF3}" srcOrd="1" destOrd="0" presId="urn:microsoft.com/office/officeart/2005/8/layout/hierarchy6"/>
    <dgm:cxn modelId="{15A2067C-7116-48D1-8F1B-B9B75E996E88}" type="presParOf" srcId="{5F63FF1B-7B7C-4475-AA01-710540BE1148}" destId="{F03FA295-B55D-48ED-AF5C-59FEB946FD46}" srcOrd="2" destOrd="0" presId="urn:microsoft.com/office/officeart/2005/8/layout/hierarchy6"/>
    <dgm:cxn modelId="{AA0D19A4-951D-49B4-B8C7-D5B6983439AE}" type="presParOf" srcId="{5F63FF1B-7B7C-4475-AA01-710540BE1148}" destId="{5C0E8732-FD51-4435-AA3D-6655D25A74A3}" srcOrd="3" destOrd="0" presId="urn:microsoft.com/office/officeart/2005/8/layout/hierarchy6"/>
    <dgm:cxn modelId="{73D1B236-3ADF-4B0D-A0B7-4E9F53EB9FA1}" type="presParOf" srcId="{5C0E8732-FD51-4435-AA3D-6655D25A74A3}" destId="{5078F451-991B-47A0-BA07-3C6F12FF0B82}" srcOrd="0" destOrd="0" presId="urn:microsoft.com/office/officeart/2005/8/layout/hierarchy6"/>
    <dgm:cxn modelId="{98CC3437-68AA-44F9-95B2-8AB840948256}" type="presParOf" srcId="{5C0E8732-FD51-4435-AA3D-6655D25A74A3}" destId="{85329FFA-3EF1-4451-8BA1-8031DB00D2DA}" srcOrd="1" destOrd="0" presId="urn:microsoft.com/office/officeart/2005/8/layout/hierarchy6"/>
    <dgm:cxn modelId="{EF498621-DD5E-4943-B1AE-09CFA5B8D383}" type="presParOf" srcId="{E0A33762-1B42-46FF-9D70-E5625241EDED}" destId="{19E67AE5-5A46-4C75-9EE4-FD6D0C856C92}" srcOrd="2" destOrd="0" presId="urn:microsoft.com/office/officeart/2005/8/layout/hierarchy6"/>
    <dgm:cxn modelId="{61369CD4-D561-404D-AD42-479D654B30AA}" type="presParOf" srcId="{E0A33762-1B42-46FF-9D70-E5625241EDED}" destId="{05D79486-AC14-4752-A84A-E0BF98BFFDC1}" srcOrd="3" destOrd="0" presId="urn:microsoft.com/office/officeart/2005/8/layout/hierarchy6"/>
    <dgm:cxn modelId="{3F44CC9D-2D0C-4540-8C82-5EB3FACE291C}" type="presParOf" srcId="{05D79486-AC14-4752-A84A-E0BF98BFFDC1}" destId="{300AE302-927E-4332-B1B9-E52F15A2FEA8}" srcOrd="0" destOrd="0" presId="urn:microsoft.com/office/officeart/2005/8/layout/hierarchy6"/>
    <dgm:cxn modelId="{98A1C452-505D-4135-BB6D-02EE207B2EE8}" type="presParOf" srcId="{05D79486-AC14-4752-A84A-E0BF98BFFDC1}" destId="{EE3AEE02-7143-461F-83AF-E03D8B634F84}" srcOrd="1" destOrd="0" presId="urn:microsoft.com/office/officeart/2005/8/layout/hierarchy6"/>
    <dgm:cxn modelId="{AC17CC06-E14C-4861-A184-E7390E2E2F06}" type="presParOf" srcId="{EE3AEE02-7143-461F-83AF-E03D8B634F84}" destId="{8EC8DC81-9B98-4728-984C-4D907C3DCFA3}" srcOrd="0" destOrd="0" presId="urn:microsoft.com/office/officeart/2005/8/layout/hierarchy6"/>
    <dgm:cxn modelId="{F68649C1-7554-4ACF-958E-2BF6E758F4C5}" type="presParOf" srcId="{EE3AEE02-7143-461F-83AF-E03D8B634F84}" destId="{CA367815-38BB-4B1C-86FA-C2BA8EAFD098}" srcOrd="1" destOrd="0" presId="urn:microsoft.com/office/officeart/2005/8/layout/hierarchy6"/>
    <dgm:cxn modelId="{B222D81B-4B1D-456C-891C-D3CC38B38E6C}" type="presParOf" srcId="{CA367815-38BB-4B1C-86FA-C2BA8EAFD098}" destId="{F8B9C5DB-53E9-44E9-92CB-10D41A0AF431}" srcOrd="0" destOrd="0" presId="urn:microsoft.com/office/officeart/2005/8/layout/hierarchy6"/>
    <dgm:cxn modelId="{1554F483-61F4-478C-AEE8-27F066113AD7}" type="presParOf" srcId="{CA367815-38BB-4B1C-86FA-C2BA8EAFD098}" destId="{54BAAC56-CE4A-4088-AEEF-EBB6E8838F7A}" srcOrd="1" destOrd="0" presId="urn:microsoft.com/office/officeart/2005/8/layout/hierarchy6"/>
    <dgm:cxn modelId="{1C4A0B37-56E6-4F0C-9B4A-1F474E99EE24}" type="presParOf" srcId="{1475C57B-FD77-40C5-933B-1FA82BB8BE34}" destId="{B4489ACE-A97A-4777-9C38-9AD04BD39CCF}" srcOrd="1" destOrd="0" presId="urn:microsoft.com/office/officeart/2005/8/layout/hierarchy6"/>
    <dgm:cxn modelId="{5C6A9CA8-7839-4FC6-91A3-D751652D0DB2}" type="presParOf" srcId="{B4489ACE-A97A-4777-9C38-9AD04BD39CCF}" destId="{4F5E07E1-8D68-43FD-BA0B-DE9D0DFD881D}" srcOrd="0" destOrd="0" presId="urn:microsoft.com/office/officeart/2005/8/layout/hierarchy6"/>
    <dgm:cxn modelId="{1085C0EA-F449-4D4A-B1AE-356ECBCAA5D8}" type="presParOf" srcId="{4F5E07E1-8D68-43FD-BA0B-DE9D0DFD881D}" destId="{0D4D1F88-F67C-44A3-A8DD-C11D47E1A4B0}" srcOrd="0" destOrd="0" presId="urn:microsoft.com/office/officeart/2005/8/layout/hierarchy6"/>
    <dgm:cxn modelId="{2B145DC7-6510-454D-A403-8CFF3549D231}" type="presParOf" srcId="{4F5E07E1-8D68-43FD-BA0B-DE9D0DFD881D}" destId="{47CC6CE3-412C-479B-9DAB-0C71CCABCCEF}" srcOrd="1" destOrd="0" presId="urn:microsoft.com/office/officeart/2005/8/layout/hierarchy6"/>
    <dgm:cxn modelId="{00D21BC3-505D-464F-AEB6-BEEEF1114957}" type="presParOf" srcId="{B4489ACE-A97A-4777-9C38-9AD04BD39CCF}" destId="{0734E36D-CF55-4EDE-A3AC-9D8C41D52B42}" srcOrd="1" destOrd="0" presId="urn:microsoft.com/office/officeart/2005/8/layout/hierarchy6"/>
    <dgm:cxn modelId="{72805D8D-9635-4909-AD6F-3AB4223B5DA2}" type="presParOf" srcId="{0734E36D-CF55-4EDE-A3AC-9D8C41D52B42}" destId="{97BE874A-5569-481B-AF0D-FCA6B4810E7F}" srcOrd="0" destOrd="0" presId="urn:microsoft.com/office/officeart/2005/8/layout/hierarchy6"/>
    <dgm:cxn modelId="{50705726-DABA-46D6-850D-E60781540549}" type="presParOf" srcId="{B4489ACE-A97A-4777-9C38-9AD04BD39CCF}" destId="{DAAA0790-4A49-47EB-A097-E6314190C79A}" srcOrd="2" destOrd="0" presId="urn:microsoft.com/office/officeart/2005/8/layout/hierarchy6"/>
    <dgm:cxn modelId="{345BBCA0-E937-49DC-B4A8-5F32E951BF7E}" type="presParOf" srcId="{DAAA0790-4A49-47EB-A097-E6314190C79A}" destId="{74AAF650-721A-4FEC-9105-EBB6B34C9192}" srcOrd="0" destOrd="0" presId="urn:microsoft.com/office/officeart/2005/8/layout/hierarchy6"/>
    <dgm:cxn modelId="{675EE9E9-E263-4F63-A647-4FFB2EE08DC9}" type="presParOf" srcId="{DAAA0790-4A49-47EB-A097-E6314190C79A}" destId="{072A39DC-3AFD-4F39-AED7-C4D88953324A}" srcOrd="1" destOrd="0" presId="urn:microsoft.com/office/officeart/2005/8/layout/hierarchy6"/>
    <dgm:cxn modelId="{15E95517-D18D-4B92-B3C2-102F16BA1500}" type="presParOf" srcId="{B4489ACE-A97A-4777-9C38-9AD04BD39CCF}" destId="{5A4B7678-3D31-406F-A98B-86C2B1CFE661}" srcOrd="3" destOrd="0" presId="urn:microsoft.com/office/officeart/2005/8/layout/hierarchy6"/>
    <dgm:cxn modelId="{D1B36C21-6892-4FAD-BD3F-F23B90DC0A26}" type="presParOf" srcId="{5A4B7678-3D31-406F-A98B-86C2B1CFE661}" destId="{E518750C-F38F-40A1-B0F5-766136E5793C}" srcOrd="0" destOrd="0" presId="urn:microsoft.com/office/officeart/2005/8/layout/hierarchy6"/>
    <dgm:cxn modelId="{BD8A596F-0024-4D7F-9054-D01EA8B2B563}" type="presParOf" srcId="{B4489ACE-A97A-4777-9C38-9AD04BD39CCF}" destId="{E51645B2-94C6-4ED9-9411-1530A566F966}" srcOrd="4" destOrd="0" presId="urn:microsoft.com/office/officeart/2005/8/layout/hierarchy6"/>
    <dgm:cxn modelId="{AF6E0039-460A-4003-99D6-0115C1CE58CD}" type="presParOf" srcId="{E51645B2-94C6-4ED9-9411-1530A566F966}" destId="{BBD8E252-5FC8-40EE-91AF-D83FBED723D4}" srcOrd="0" destOrd="0" presId="urn:microsoft.com/office/officeart/2005/8/layout/hierarchy6"/>
    <dgm:cxn modelId="{9D17283E-0876-4466-895E-368D5A78B107}" type="presParOf" srcId="{E51645B2-94C6-4ED9-9411-1530A566F966}" destId="{A44CD235-3C31-4DD1-894D-207E5A38374B}" srcOrd="1" destOrd="0" presId="urn:microsoft.com/office/officeart/2005/8/layout/hierarchy6"/>
    <dgm:cxn modelId="{E3E2A98F-A033-4326-B8A0-87CE02576EBF}" type="presParOf" srcId="{B4489ACE-A97A-4777-9C38-9AD04BD39CCF}" destId="{CF5A3AB3-13BA-4761-8267-043E26AFE4FE}" srcOrd="5" destOrd="0" presId="urn:microsoft.com/office/officeart/2005/8/layout/hierarchy6"/>
    <dgm:cxn modelId="{17C055AD-6144-400E-8C01-88A6D146DE65}" type="presParOf" srcId="{CF5A3AB3-13BA-4761-8267-043E26AFE4FE}" destId="{548FF067-B77B-4EB9-95D7-518F52AFE1E8}" srcOrd="0" destOrd="0" presId="urn:microsoft.com/office/officeart/2005/8/layout/hierarchy6"/>
    <dgm:cxn modelId="{190C4DB1-4C78-4298-BD1A-6F96DF95379E}" type="presParOf" srcId="{B4489ACE-A97A-4777-9C38-9AD04BD39CCF}" destId="{BBA01025-8753-4A80-BC39-870BFAE1D4D1}" srcOrd="6" destOrd="0" presId="urn:microsoft.com/office/officeart/2005/8/layout/hierarchy6"/>
    <dgm:cxn modelId="{1718D253-2A57-4DC9-9EF5-99E6F8C6F0FC}" type="presParOf" srcId="{BBA01025-8753-4A80-BC39-870BFAE1D4D1}" destId="{692CFC3C-9C41-4DF0-8BD7-EAA3DC169251}" srcOrd="0" destOrd="0" presId="urn:microsoft.com/office/officeart/2005/8/layout/hierarchy6"/>
    <dgm:cxn modelId="{CF6A7DA5-4287-4A1B-9FCD-6AAEF4AE494F}" type="presParOf" srcId="{BBA01025-8753-4A80-BC39-870BFAE1D4D1}" destId="{F7F4E6A6-92B0-47D9-A77A-D4C006B76869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8A67A5F-BF82-47F4-8EE1-F4A99ECA3328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08AB9DBE-241E-4215-A4E3-B09C1C63B8AC}">
      <dgm:prSet phldrT="[Text]" custT="1"/>
      <dgm:spPr>
        <a:solidFill>
          <a:srgbClr val="A40071"/>
        </a:solidFill>
      </dgm:spPr>
      <dgm:t>
        <a:bodyPr/>
        <a:lstStyle/>
        <a:p>
          <a:pPr algn="ctr"/>
          <a:endParaRPr lang="cs-CZ" sz="3200" b="0" dirty="0">
            <a:solidFill>
              <a:schemeClr val="accent1"/>
            </a:solidFill>
            <a:latin typeface="+mj-lt"/>
          </a:endParaRPr>
        </a:p>
      </dgm:t>
    </dgm:pt>
    <dgm:pt modelId="{C09CA155-88CB-46F8-A15F-595BA35AC89C}" type="parTrans" cxnId="{583047C7-9AD8-4F30-9CF9-104BA89F5A67}">
      <dgm:prSet/>
      <dgm:spPr/>
      <dgm:t>
        <a:bodyPr/>
        <a:lstStyle/>
        <a:p>
          <a:pPr algn="ctr"/>
          <a:endParaRPr lang="cs-CZ" sz="3200" b="0">
            <a:latin typeface="+mj-lt"/>
          </a:endParaRPr>
        </a:p>
      </dgm:t>
    </dgm:pt>
    <dgm:pt modelId="{5F92E7D8-276C-4AED-876F-E02951D041CB}" type="sibTrans" cxnId="{583047C7-9AD8-4F30-9CF9-104BA89F5A67}">
      <dgm:prSet/>
      <dgm:spPr/>
      <dgm:t>
        <a:bodyPr/>
        <a:lstStyle/>
        <a:p>
          <a:pPr algn="ctr"/>
          <a:endParaRPr lang="cs-CZ" sz="3200" b="0">
            <a:latin typeface="+mj-lt"/>
          </a:endParaRPr>
        </a:p>
      </dgm:t>
    </dgm:pt>
    <dgm:pt modelId="{DC776748-5066-4A77-B72B-F1FE1D157238}">
      <dgm:prSet custT="1"/>
      <dgm:spPr>
        <a:ln>
          <a:noFill/>
        </a:ln>
      </dgm:spPr>
      <dgm:t>
        <a:bodyPr/>
        <a:lstStyle/>
        <a:p>
          <a:pPr algn="ctr">
            <a:buNone/>
          </a:pPr>
          <a:r>
            <a:rPr lang="cs-CZ" sz="3200" b="0" dirty="0" err="1">
              <a:latin typeface="+mj-lt"/>
            </a:rPr>
            <a:t>Managed</a:t>
          </a:r>
          <a:r>
            <a:rPr lang="cs-CZ" sz="3200" b="0" dirty="0">
              <a:latin typeface="+mj-lt"/>
            </a:rPr>
            <a:t> </a:t>
          </a:r>
          <a:r>
            <a:rPr lang="cs-CZ" sz="3200" b="0" dirty="0" err="1">
              <a:latin typeface="+mj-lt"/>
            </a:rPr>
            <a:t>entry</a:t>
          </a:r>
          <a:r>
            <a:rPr lang="cs-CZ" sz="3200" b="0" dirty="0">
              <a:latin typeface="+mj-lt"/>
            </a:rPr>
            <a:t> </a:t>
          </a:r>
          <a:r>
            <a:rPr lang="cs-CZ" sz="3200" b="0" dirty="0" err="1">
              <a:latin typeface="+mj-lt"/>
            </a:rPr>
            <a:t>schemes</a:t>
          </a:r>
          <a:r>
            <a:rPr lang="cs-CZ" sz="3200" b="0" dirty="0">
              <a:latin typeface="+mj-lt"/>
            </a:rPr>
            <a:t> – performance  </a:t>
          </a:r>
        </a:p>
      </dgm:t>
    </dgm:pt>
    <dgm:pt modelId="{9790F635-4F31-40E2-B677-473BB07559B9}" type="parTrans" cxnId="{3D920FD3-80BE-4553-839E-DBB840E291B1}">
      <dgm:prSet/>
      <dgm:spPr/>
      <dgm:t>
        <a:bodyPr/>
        <a:lstStyle/>
        <a:p>
          <a:pPr algn="ctr"/>
          <a:endParaRPr lang="cs-CZ" sz="3200" b="0">
            <a:latin typeface="+mj-lt"/>
          </a:endParaRPr>
        </a:p>
      </dgm:t>
    </dgm:pt>
    <dgm:pt modelId="{0DA3B365-1AFE-420B-A1E3-A43D09CF11E6}" type="sibTrans" cxnId="{3D920FD3-80BE-4553-839E-DBB840E291B1}">
      <dgm:prSet/>
      <dgm:spPr/>
      <dgm:t>
        <a:bodyPr/>
        <a:lstStyle/>
        <a:p>
          <a:pPr algn="ctr"/>
          <a:endParaRPr lang="cs-CZ" sz="3200" b="0">
            <a:latin typeface="+mj-lt"/>
          </a:endParaRPr>
        </a:p>
      </dgm:t>
    </dgm:pt>
    <dgm:pt modelId="{5DE161F5-F3AF-41FC-9C63-AFD9DFDA8427}" type="pres">
      <dgm:prSet presAssocID="{38A67A5F-BF82-47F4-8EE1-F4A99ECA3328}" presName="linearFlow" presStyleCnt="0">
        <dgm:presLayoutVars>
          <dgm:dir/>
          <dgm:animLvl val="lvl"/>
          <dgm:resizeHandles val="exact"/>
        </dgm:presLayoutVars>
      </dgm:prSet>
      <dgm:spPr/>
    </dgm:pt>
    <dgm:pt modelId="{A81FC6A6-40E0-482D-974B-7E08374F3EB6}" type="pres">
      <dgm:prSet presAssocID="{08AB9DBE-241E-4215-A4E3-B09C1C63B8AC}" presName="composite" presStyleCnt="0"/>
      <dgm:spPr/>
    </dgm:pt>
    <dgm:pt modelId="{6F2BD1C9-F271-4295-A2BE-2AFF4678C3E8}" type="pres">
      <dgm:prSet presAssocID="{08AB9DBE-241E-4215-A4E3-B09C1C63B8AC}" presName="parentText" presStyleLbl="alignNode1" presStyleIdx="0" presStyleCnt="1" custLinFactNeighborY="-958">
        <dgm:presLayoutVars>
          <dgm:chMax val="1"/>
          <dgm:bulletEnabled val="1"/>
        </dgm:presLayoutVars>
      </dgm:prSet>
      <dgm:spPr/>
    </dgm:pt>
    <dgm:pt modelId="{28D4BFFE-84B7-4902-B04E-2E59D33E9BA7}" type="pres">
      <dgm:prSet presAssocID="{08AB9DBE-241E-4215-A4E3-B09C1C63B8AC}" presName="descendantText" presStyleLbl="alignAcc1" presStyleIdx="0" presStyleCnt="1" custScaleY="182760" custLinFactNeighborX="0" custLinFactNeighborY="-211">
        <dgm:presLayoutVars>
          <dgm:bulletEnabled val="1"/>
        </dgm:presLayoutVars>
      </dgm:prSet>
      <dgm:spPr/>
    </dgm:pt>
  </dgm:ptLst>
  <dgm:cxnLst>
    <dgm:cxn modelId="{96A1D810-2028-441A-8DA1-9720557D5F6A}" type="presOf" srcId="{08AB9DBE-241E-4215-A4E3-B09C1C63B8AC}" destId="{6F2BD1C9-F271-4295-A2BE-2AFF4678C3E8}" srcOrd="0" destOrd="0" presId="urn:microsoft.com/office/officeart/2005/8/layout/chevron2"/>
    <dgm:cxn modelId="{7AFC5921-7325-4F5E-992D-F2FDA5CCE3C4}" type="presOf" srcId="{DC776748-5066-4A77-B72B-F1FE1D157238}" destId="{28D4BFFE-84B7-4902-B04E-2E59D33E9BA7}" srcOrd="0" destOrd="0" presId="urn:microsoft.com/office/officeart/2005/8/layout/chevron2"/>
    <dgm:cxn modelId="{23EC623E-CD48-4C51-A499-A3152151A0BB}" type="presOf" srcId="{38A67A5F-BF82-47F4-8EE1-F4A99ECA3328}" destId="{5DE161F5-F3AF-41FC-9C63-AFD9DFDA8427}" srcOrd="0" destOrd="0" presId="urn:microsoft.com/office/officeart/2005/8/layout/chevron2"/>
    <dgm:cxn modelId="{583047C7-9AD8-4F30-9CF9-104BA89F5A67}" srcId="{38A67A5F-BF82-47F4-8EE1-F4A99ECA3328}" destId="{08AB9DBE-241E-4215-A4E3-B09C1C63B8AC}" srcOrd="0" destOrd="0" parTransId="{C09CA155-88CB-46F8-A15F-595BA35AC89C}" sibTransId="{5F92E7D8-276C-4AED-876F-E02951D041CB}"/>
    <dgm:cxn modelId="{3D920FD3-80BE-4553-839E-DBB840E291B1}" srcId="{08AB9DBE-241E-4215-A4E3-B09C1C63B8AC}" destId="{DC776748-5066-4A77-B72B-F1FE1D157238}" srcOrd="0" destOrd="0" parTransId="{9790F635-4F31-40E2-B677-473BB07559B9}" sibTransId="{0DA3B365-1AFE-420B-A1E3-A43D09CF11E6}"/>
    <dgm:cxn modelId="{A7749AD2-D866-45DA-A4ED-129EC5B4D7CE}" type="presParOf" srcId="{5DE161F5-F3AF-41FC-9C63-AFD9DFDA8427}" destId="{A81FC6A6-40E0-482D-974B-7E08374F3EB6}" srcOrd="0" destOrd="0" presId="urn:microsoft.com/office/officeart/2005/8/layout/chevron2"/>
    <dgm:cxn modelId="{4DB3FC70-FD09-4F27-83F9-2FDBA73F5355}" type="presParOf" srcId="{A81FC6A6-40E0-482D-974B-7E08374F3EB6}" destId="{6F2BD1C9-F271-4295-A2BE-2AFF4678C3E8}" srcOrd="0" destOrd="0" presId="urn:microsoft.com/office/officeart/2005/8/layout/chevron2"/>
    <dgm:cxn modelId="{0E7E5444-301B-46AF-9D35-A8FC7A463C64}" type="presParOf" srcId="{A81FC6A6-40E0-482D-974B-7E08374F3EB6}" destId="{28D4BFFE-84B7-4902-B04E-2E59D33E9BA7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B6132D-4C7E-4FB2-B712-99C7308DCB62}">
      <dsp:nvSpPr>
        <dsp:cNvPr id="0" name=""/>
        <dsp:cNvSpPr/>
      </dsp:nvSpPr>
      <dsp:spPr>
        <a:xfrm>
          <a:off x="0" y="2598397"/>
          <a:ext cx="10407650" cy="1112550"/>
        </a:xfrm>
        <a:prstGeom prst="roundRect">
          <a:avLst>
            <a:gd name="adj" fmla="val 10000"/>
          </a:avLst>
        </a:prstGeom>
        <a:solidFill>
          <a:srgbClr val="FFE5F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Instruments</a:t>
          </a:r>
        </a:p>
      </dsp:txBody>
      <dsp:txXfrm>
        <a:off x="0" y="2598397"/>
        <a:ext cx="3122295" cy="1112550"/>
      </dsp:txXfrm>
    </dsp:sp>
    <dsp:sp modelId="{910F2BDE-3F10-4B50-B9E1-537363F68C4B}">
      <dsp:nvSpPr>
        <dsp:cNvPr id="0" name=""/>
        <dsp:cNvSpPr/>
      </dsp:nvSpPr>
      <dsp:spPr>
        <a:xfrm>
          <a:off x="0" y="1299512"/>
          <a:ext cx="10407650" cy="1112550"/>
        </a:xfrm>
        <a:prstGeom prst="roundRect">
          <a:avLst>
            <a:gd name="adj" fmla="val 10000"/>
          </a:avLst>
        </a:prstGeom>
        <a:solidFill>
          <a:srgbClr val="FFE5F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Monitoring</a:t>
          </a:r>
        </a:p>
      </dsp:txBody>
      <dsp:txXfrm>
        <a:off x="0" y="1299512"/>
        <a:ext cx="3122295" cy="1112550"/>
      </dsp:txXfrm>
    </dsp:sp>
    <dsp:sp modelId="{9B3B613E-1110-4DDF-9D0D-708D50A27B38}">
      <dsp:nvSpPr>
        <dsp:cNvPr id="0" name=""/>
        <dsp:cNvSpPr/>
      </dsp:nvSpPr>
      <dsp:spPr>
        <a:xfrm>
          <a:off x="0" y="627"/>
          <a:ext cx="10407650" cy="1112550"/>
        </a:xfrm>
        <a:prstGeom prst="roundRect">
          <a:avLst>
            <a:gd name="adj" fmla="val 10000"/>
          </a:avLst>
        </a:prstGeom>
        <a:solidFill>
          <a:srgbClr val="FFE5F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Objective</a:t>
          </a:r>
        </a:p>
      </dsp:txBody>
      <dsp:txXfrm>
        <a:off x="0" y="627"/>
        <a:ext cx="3122295" cy="1112550"/>
      </dsp:txXfrm>
    </dsp:sp>
    <dsp:sp modelId="{238C0F03-3B46-4010-B250-46656DB10D5A}">
      <dsp:nvSpPr>
        <dsp:cNvPr id="0" name=""/>
        <dsp:cNvSpPr/>
      </dsp:nvSpPr>
      <dsp:spPr>
        <a:xfrm>
          <a:off x="5891111" y="93794"/>
          <a:ext cx="2161866" cy="93167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 dirty="0" err="1"/>
            <a:t>Financial</a:t>
          </a:r>
          <a:r>
            <a:rPr lang="cs-CZ" sz="2400" b="1" kern="1200" dirty="0"/>
            <a:t> </a:t>
          </a:r>
          <a:r>
            <a:rPr lang="cs-CZ" sz="2400" b="1" kern="1200" dirty="0" err="1"/>
            <a:t>schemes</a:t>
          </a:r>
          <a:endParaRPr lang="cs-CZ" sz="2400" b="1" kern="1200" dirty="0"/>
        </a:p>
      </dsp:txBody>
      <dsp:txXfrm>
        <a:off x="5918399" y="121082"/>
        <a:ext cx="2107290" cy="877098"/>
      </dsp:txXfrm>
    </dsp:sp>
    <dsp:sp modelId="{9DAD6922-1F0E-4AA6-96FB-219CBABA1B6E}">
      <dsp:nvSpPr>
        <dsp:cNvPr id="0" name=""/>
        <dsp:cNvSpPr/>
      </dsp:nvSpPr>
      <dsp:spPr>
        <a:xfrm>
          <a:off x="5572367" y="1025469"/>
          <a:ext cx="1399677" cy="372669"/>
        </a:xfrm>
        <a:custGeom>
          <a:avLst/>
          <a:gdLst/>
          <a:ahLst/>
          <a:cxnLst/>
          <a:rect l="0" t="0" r="0" b="0"/>
          <a:pathLst>
            <a:path>
              <a:moveTo>
                <a:pt x="1399677" y="0"/>
              </a:moveTo>
              <a:lnTo>
                <a:pt x="1399677" y="186334"/>
              </a:lnTo>
              <a:lnTo>
                <a:pt x="0" y="186334"/>
              </a:lnTo>
              <a:lnTo>
                <a:pt x="0" y="37266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35FCE7-E12D-4EB7-846C-FF3D0ED6E777}">
      <dsp:nvSpPr>
        <dsp:cNvPr id="0" name=""/>
        <dsp:cNvSpPr/>
      </dsp:nvSpPr>
      <dsp:spPr>
        <a:xfrm>
          <a:off x="4587526" y="1398138"/>
          <a:ext cx="1969680" cy="93167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 err="1"/>
            <a:t>Total</a:t>
          </a:r>
          <a:r>
            <a:rPr lang="cs-CZ" sz="2000" kern="1200" dirty="0"/>
            <a:t> </a:t>
          </a:r>
          <a:r>
            <a:rPr lang="cs-CZ" sz="2000" kern="1200" dirty="0" err="1"/>
            <a:t>cost</a:t>
          </a:r>
          <a:r>
            <a:rPr lang="cs-CZ" sz="2000" kern="1200" dirty="0"/>
            <a:t> </a:t>
          </a:r>
          <a:r>
            <a:rPr lang="cs-CZ" sz="2000" kern="1200" dirty="0" err="1"/>
            <a:t>for</a:t>
          </a:r>
          <a:r>
            <a:rPr lang="cs-CZ" sz="2000" kern="1200" dirty="0"/>
            <a:t> </a:t>
          </a:r>
          <a:r>
            <a:rPr lang="cs-CZ" sz="2000" kern="1200" dirty="0" err="1"/>
            <a:t>all</a:t>
          </a:r>
          <a:r>
            <a:rPr lang="cs-CZ" sz="2000" kern="1200" dirty="0"/>
            <a:t> </a:t>
          </a:r>
          <a:r>
            <a:rPr lang="cs-CZ" sz="2000" kern="1200" dirty="0" err="1"/>
            <a:t>patients</a:t>
          </a:r>
          <a:endParaRPr lang="cs-CZ" sz="2000" kern="1200" dirty="0"/>
        </a:p>
      </dsp:txBody>
      <dsp:txXfrm>
        <a:off x="4614814" y="1425426"/>
        <a:ext cx="1915104" cy="877098"/>
      </dsp:txXfrm>
    </dsp:sp>
    <dsp:sp modelId="{5F266593-7278-4197-9217-6B8B69EAC432}">
      <dsp:nvSpPr>
        <dsp:cNvPr id="0" name=""/>
        <dsp:cNvSpPr/>
      </dsp:nvSpPr>
      <dsp:spPr>
        <a:xfrm>
          <a:off x="4663984" y="2329813"/>
          <a:ext cx="908382" cy="372669"/>
        </a:xfrm>
        <a:custGeom>
          <a:avLst/>
          <a:gdLst/>
          <a:ahLst/>
          <a:cxnLst/>
          <a:rect l="0" t="0" r="0" b="0"/>
          <a:pathLst>
            <a:path>
              <a:moveTo>
                <a:pt x="908382" y="0"/>
              </a:moveTo>
              <a:lnTo>
                <a:pt x="908382" y="186334"/>
              </a:lnTo>
              <a:lnTo>
                <a:pt x="0" y="186334"/>
              </a:lnTo>
              <a:lnTo>
                <a:pt x="0" y="37266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E7F7A9-E766-4E64-A7BC-3E0084598ED4}">
      <dsp:nvSpPr>
        <dsp:cNvPr id="0" name=""/>
        <dsp:cNvSpPr/>
      </dsp:nvSpPr>
      <dsp:spPr>
        <a:xfrm>
          <a:off x="3965228" y="2702483"/>
          <a:ext cx="1397511" cy="93167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 err="1"/>
            <a:t>Discounts</a:t>
          </a:r>
          <a:endParaRPr lang="cs-CZ" sz="2000" kern="1200" dirty="0"/>
        </a:p>
      </dsp:txBody>
      <dsp:txXfrm>
        <a:off x="3992516" y="2729771"/>
        <a:ext cx="1342935" cy="877098"/>
      </dsp:txXfrm>
    </dsp:sp>
    <dsp:sp modelId="{F332D8B0-68C3-46CD-AA3E-3858218BB2CB}">
      <dsp:nvSpPr>
        <dsp:cNvPr id="0" name=""/>
        <dsp:cNvSpPr/>
      </dsp:nvSpPr>
      <dsp:spPr>
        <a:xfrm>
          <a:off x="5572367" y="2329813"/>
          <a:ext cx="908382" cy="372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6334"/>
              </a:lnTo>
              <a:lnTo>
                <a:pt x="908382" y="186334"/>
              </a:lnTo>
              <a:lnTo>
                <a:pt x="908382" y="37266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A1285E-C84F-4BFF-B3AA-EA207395B897}">
      <dsp:nvSpPr>
        <dsp:cNvPr id="0" name=""/>
        <dsp:cNvSpPr/>
      </dsp:nvSpPr>
      <dsp:spPr>
        <a:xfrm>
          <a:off x="5781993" y="2702483"/>
          <a:ext cx="1397511" cy="93167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 err="1"/>
            <a:t>Price</a:t>
          </a:r>
          <a:r>
            <a:rPr lang="cs-CZ" sz="2000" kern="1200" dirty="0"/>
            <a:t>/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 err="1"/>
            <a:t>volume</a:t>
          </a:r>
          <a:endParaRPr lang="cs-CZ" sz="2000" kern="1200" dirty="0"/>
        </a:p>
      </dsp:txBody>
      <dsp:txXfrm>
        <a:off x="5809281" y="2729771"/>
        <a:ext cx="1342935" cy="877098"/>
      </dsp:txXfrm>
    </dsp:sp>
    <dsp:sp modelId="{441A2FA6-3A5B-4049-BEE8-75CE023D1B77}">
      <dsp:nvSpPr>
        <dsp:cNvPr id="0" name=""/>
        <dsp:cNvSpPr/>
      </dsp:nvSpPr>
      <dsp:spPr>
        <a:xfrm>
          <a:off x="6972044" y="1025469"/>
          <a:ext cx="1419725" cy="372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6334"/>
              </a:lnTo>
              <a:lnTo>
                <a:pt x="1419725" y="186334"/>
              </a:lnTo>
              <a:lnTo>
                <a:pt x="1419725" y="37266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861DAE-FE47-4C7F-9E8B-20EF1C3C1AA6}">
      <dsp:nvSpPr>
        <dsp:cNvPr id="0" name=""/>
        <dsp:cNvSpPr/>
      </dsp:nvSpPr>
      <dsp:spPr>
        <a:xfrm>
          <a:off x="7426976" y="1398138"/>
          <a:ext cx="1929586" cy="93167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 err="1"/>
            <a:t>Total</a:t>
          </a:r>
          <a:r>
            <a:rPr lang="cs-CZ" sz="2000" kern="1200" dirty="0"/>
            <a:t> </a:t>
          </a:r>
          <a:r>
            <a:rPr lang="cs-CZ" sz="2000" kern="1200" dirty="0" err="1"/>
            <a:t>cost</a:t>
          </a:r>
          <a:r>
            <a:rPr lang="cs-CZ" sz="2000" kern="1200" dirty="0"/>
            <a:t> per </a:t>
          </a:r>
          <a:r>
            <a:rPr lang="cs-CZ" sz="2000" kern="1200" dirty="0" err="1"/>
            <a:t>patient</a:t>
          </a:r>
          <a:endParaRPr lang="cs-CZ" sz="2000" kern="1200" dirty="0"/>
        </a:p>
      </dsp:txBody>
      <dsp:txXfrm>
        <a:off x="7454264" y="1425426"/>
        <a:ext cx="1875010" cy="877098"/>
      </dsp:txXfrm>
    </dsp:sp>
    <dsp:sp modelId="{7803A247-CEAB-4F63-A232-7C9003CEF120}">
      <dsp:nvSpPr>
        <dsp:cNvPr id="0" name=""/>
        <dsp:cNvSpPr/>
      </dsp:nvSpPr>
      <dsp:spPr>
        <a:xfrm>
          <a:off x="8346050" y="2329813"/>
          <a:ext cx="91440" cy="37266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266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6CBC92-6328-4E3D-A81A-8DC4059342DF}">
      <dsp:nvSpPr>
        <dsp:cNvPr id="0" name=""/>
        <dsp:cNvSpPr/>
      </dsp:nvSpPr>
      <dsp:spPr>
        <a:xfrm>
          <a:off x="7598759" y="2702483"/>
          <a:ext cx="1586021" cy="93167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 err="1"/>
            <a:t>Utilisation</a:t>
          </a:r>
          <a:r>
            <a:rPr lang="cs-CZ" sz="2000" kern="1200" dirty="0"/>
            <a:t> </a:t>
          </a:r>
          <a:r>
            <a:rPr lang="cs-CZ" sz="2000" kern="1200" dirty="0" err="1"/>
            <a:t>capping</a:t>
          </a:r>
          <a:endParaRPr lang="cs-CZ" sz="2000" kern="1200" dirty="0"/>
        </a:p>
      </dsp:txBody>
      <dsp:txXfrm>
        <a:off x="7626047" y="2729771"/>
        <a:ext cx="1531445" cy="8770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2BD1C9-F271-4295-A2BE-2AFF4678C3E8}">
      <dsp:nvSpPr>
        <dsp:cNvPr id="0" name=""/>
        <dsp:cNvSpPr/>
      </dsp:nvSpPr>
      <dsp:spPr>
        <a:xfrm rot="5400000">
          <a:off x="-131444" y="131444"/>
          <a:ext cx="876300" cy="613410"/>
        </a:xfrm>
        <a:prstGeom prst="chevron">
          <a:avLst/>
        </a:prstGeom>
        <a:solidFill>
          <a:srgbClr val="A40071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3200" b="0" kern="1200" dirty="0">
            <a:solidFill>
              <a:schemeClr val="accent1"/>
            </a:solidFill>
            <a:latin typeface="+mj-lt"/>
          </a:endParaRPr>
        </a:p>
      </dsp:txBody>
      <dsp:txXfrm rot="-5400000">
        <a:off x="1" y="306704"/>
        <a:ext cx="613410" cy="262890"/>
      </dsp:txXfrm>
    </dsp:sp>
    <dsp:sp modelId="{28D4BFFE-84B7-4902-B04E-2E59D33E9BA7}">
      <dsp:nvSpPr>
        <dsp:cNvPr id="0" name=""/>
        <dsp:cNvSpPr/>
      </dsp:nvSpPr>
      <dsp:spPr>
        <a:xfrm rot="5400000">
          <a:off x="3583930" y="-2970520"/>
          <a:ext cx="569594" cy="651063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ctr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cs-CZ" sz="3200" b="0" kern="1200" dirty="0" err="1">
              <a:latin typeface="+mj-lt"/>
            </a:rPr>
            <a:t>Managed</a:t>
          </a:r>
          <a:r>
            <a:rPr lang="cs-CZ" sz="3200" b="0" kern="1200" dirty="0">
              <a:latin typeface="+mj-lt"/>
            </a:rPr>
            <a:t> </a:t>
          </a:r>
          <a:r>
            <a:rPr lang="cs-CZ" sz="3200" b="0" kern="1200" dirty="0" err="1">
              <a:latin typeface="+mj-lt"/>
            </a:rPr>
            <a:t>entry</a:t>
          </a:r>
          <a:r>
            <a:rPr lang="cs-CZ" sz="3200" b="0" kern="1200" dirty="0">
              <a:latin typeface="+mj-lt"/>
            </a:rPr>
            <a:t> </a:t>
          </a:r>
          <a:r>
            <a:rPr lang="cs-CZ" sz="3200" b="0" kern="1200" dirty="0" err="1">
              <a:latin typeface="+mj-lt"/>
            </a:rPr>
            <a:t>schemes</a:t>
          </a:r>
          <a:r>
            <a:rPr lang="cs-CZ" sz="3200" b="0" kern="1200" dirty="0">
              <a:latin typeface="+mj-lt"/>
            </a:rPr>
            <a:t> - </a:t>
          </a:r>
          <a:r>
            <a:rPr lang="cs-CZ" sz="3200" b="0" kern="1200" dirty="0" err="1">
              <a:latin typeface="+mj-lt"/>
            </a:rPr>
            <a:t>financial</a:t>
          </a:r>
          <a:endParaRPr lang="cs-CZ" sz="3200" b="0" kern="1200" dirty="0">
            <a:latin typeface="+mj-lt"/>
          </a:endParaRPr>
        </a:p>
      </dsp:txBody>
      <dsp:txXfrm rot="-5400000">
        <a:off x="613410" y="27805"/>
        <a:ext cx="6482831" cy="5139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2CFC3C-9C41-4DF0-8BD7-EAA3DC169251}">
      <dsp:nvSpPr>
        <dsp:cNvPr id="0" name=""/>
        <dsp:cNvSpPr/>
      </dsp:nvSpPr>
      <dsp:spPr>
        <a:xfrm>
          <a:off x="0" y="3132048"/>
          <a:ext cx="10756900" cy="893957"/>
        </a:xfrm>
        <a:prstGeom prst="roundRect">
          <a:avLst>
            <a:gd name="adj" fmla="val 10000"/>
          </a:avLst>
        </a:prstGeom>
        <a:solidFill>
          <a:srgbClr val="FFE5F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3100" kern="1200" dirty="0"/>
        </a:p>
      </dsp:txBody>
      <dsp:txXfrm>
        <a:off x="0" y="3132048"/>
        <a:ext cx="3227070" cy="893957"/>
      </dsp:txXfrm>
    </dsp:sp>
    <dsp:sp modelId="{BBD8E252-5FC8-40EE-91AF-D83FBED723D4}">
      <dsp:nvSpPr>
        <dsp:cNvPr id="0" name=""/>
        <dsp:cNvSpPr/>
      </dsp:nvSpPr>
      <dsp:spPr>
        <a:xfrm>
          <a:off x="0" y="2089563"/>
          <a:ext cx="10756900" cy="893957"/>
        </a:xfrm>
        <a:prstGeom prst="roundRect">
          <a:avLst>
            <a:gd name="adj" fmla="val 10000"/>
          </a:avLst>
        </a:prstGeom>
        <a:solidFill>
          <a:srgbClr val="FFE5F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Instruments</a:t>
          </a:r>
        </a:p>
      </dsp:txBody>
      <dsp:txXfrm>
        <a:off x="0" y="2089563"/>
        <a:ext cx="3227070" cy="893957"/>
      </dsp:txXfrm>
    </dsp:sp>
    <dsp:sp modelId="{74AAF650-721A-4FEC-9105-EBB6B34C9192}">
      <dsp:nvSpPr>
        <dsp:cNvPr id="0" name=""/>
        <dsp:cNvSpPr/>
      </dsp:nvSpPr>
      <dsp:spPr>
        <a:xfrm>
          <a:off x="0" y="1046613"/>
          <a:ext cx="10756900" cy="893957"/>
        </a:xfrm>
        <a:prstGeom prst="roundRect">
          <a:avLst>
            <a:gd name="adj" fmla="val 10000"/>
          </a:avLst>
        </a:prstGeom>
        <a:solidFill>
          <a:srgbClr val="FFE5F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Monitoring</a:t>
          </a:r>
        </a:p>
      </dsp:txBody>
      <dsp:txXfrm>
        <a:off x="0" y="1046613"/>
        <a:ext cx="3227070" cy="893957"/>
      </dsp:txXfrm>
    </dsp:sp>
    <dsp:sp modelId="{0D4D1F88-F67C-44A3-A8DD-C11D47E1A4B0}">
      <dsp:nvSpPr>
        <dsp:cNvPr id="0" name=""/>
        <dsp:cNvSpPr/>
      </dsp:nvSpPr>
      <dsp:spPr>
        <a:xfrm>
          <a:off x="0" y="3663"/>
          <a:ext cx="10756900" cy="893957"/>
        </a:xfrm>
        <a:prstGeom prst="roundRect">
          <a:avLst>
            <a:gd name="adj" fmla="val 10000"/>
          </a:avLst>
        </a:prstGeom>
        <a:solidFill>
          <a:srgbClr val="FFE5F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Objective</a:t>
          </a:r>
        </a:p>
      </dsp:txBody>
      <dsp:txXfrm>
        <a:off x="0" y="3663"/>
        <a:ext cx="3227070" cy="893957"/>
      </dsp:txXfrm>
    </dsp:sp>
    <dsp:sp modelId="{A167BF31-8DEA-4422-AFCF-A2895524BACE}">
      <dsp:nvSpPr>
        <dsp:cNvPr id="0" name=""/>
        <dsp:cNvSpPr/>
      </dsp:nvSpPr>
      <dsp:spPr>
        <a:xfrm>
          <a:off x="6037520" y="78159"/>
          <a:ext cx="3142326" cy="74496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 dirty="0"/>
            <a:t>Performance-</a:t>
          </a:r>
          <a:r>
            <a:rPr lang="cs-CZ" sz="2400" b="1" kern="1200" dirty="0" err="1"/>
            <a:t>based</a:t>
          </a:r>
          <a:r>
            <a:rPr lang="cs-CZ" sz="2400" b="1" kern="1200" dirty="0"/>
            <a:t> </a:t>
          </a:r>
          <a:r>
            <a:rPr lang="cs-CZ" sz="2400" b="1" kern="1200" dirty="0" err="1"/>
            <a:t>agreements</a:t>
          </a:r>
          <a:endParaRPr lang="cs-CZ" sz="2400" kern="1200" dirty="0"/>
        </a:p>
      </dsp:txBody>
      <dsp:txXfrm>
        <a:off x="6059339" y="99978"/>
        <a:ext cx="3098688" cy="701326"/>
      </dsp:txXfrm>
    </dsp:sp>
    <dsp:sp modelId="{80A25D3A-359A-4057-8C6D-CCE35472A910}">
      <dsp:nvSpPr>
        <dsp:cNvPr id="0" name=""/>
        <dsp:cNvSpPr/>
      </dsp:nvSpPr>
      <dsp:spPr>
        <a:xfrm>
          <a:off x="5878172" y="823124"/>
          <a:ext cx="1730511" cy="297985"/>
        </a:xfrm>
        <a:custGeom>
          <a:avLst/>
          <a:gdLst/>
          <a:ahLst/>
          <a:cxnLst/>
          <a:rect l="0" t="0" r="0" b="0"/>
          <a:pathLst>
            <a:path>
              <a:moveTo>
                <a:pt x="1730511" y="0"/>
              </a:moveTo>
              <a:lnTo>
                <a:pt x="1730511" y="148992"/>
              </a:lnTo>
              <a:lnTo>
                <a:pt x="0" y="148992"/>
              </a:lnTo>
              <a:lnTo>
                <a:pt x="0" y="2979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5C60E2-D80C-4001-8BB5-897EE0C36424}">
      <dsp:nvSpPr>
        <dsp:cNvPr id="0" name=""/>
        <dsp:cNvSpPr/>
      </dsp:nvSpPr>
      <dsp:spPr>
        <a:xfrm>
          <a:off x="4939427" y="1121109"/>
          <a:ext cx="1877488" cy="74496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900" kern="1200" dirty="0" err="1"/>
            <a:t>Utilisation</a:t>
          </a:r>
          <a:r>
            <a:rPr lang="cs-CZ" sz="1900" kern="1200" dirty="0"/>
            <a:t> in </a:t>
          </a:r>
          <a:r>
            <a:rPr lang="cs-CZ" sz="1900" kern="1200" dirty="0" err="1"/>
            <a:t>the</a:t>
          </a:r>
          <a:r>
            <a:rPr lang="cs-CZ" sz="1900" kern="1200" dirty="0"/>
            <a:t> </a:t>
          </a:r>
          <a:r>
            <a:rPr lang="cs-CZ" sz="1900" kern="1200" dirty="0" err="1"/>
            <a:t>real</a:t>
          </a:r>
          <a:r>
            <a:rPr lang="cs-CZ" sz="1900" kern="1200" dirty="0"/>
            <a:t> </a:t>
          </a:r>
          <a:r>
            <a:rPr lang="cs-CZ" sz="1900" kern="1200" dirty="0" err="1"/>
            <a:t>life</a:t>
          </a:r>
          <a:endParaRPr lang="cs-CZ" sz="1900" kern="1200" dirty="0"/>
        </a:p>
      </dsp:txBody>
      <dsp:txXfrm>
        <a:off x="4961246" y="1142928"/>
        <a:ext cx="1833850" cy="701326"/>
      </dsp:txXfrm>
    </dsp:sp>
    <dsp:sp modelId="{71194C34-9291-4E7A-BA1C-154CAA6CBABC}">
      <dsp:nvSpPr>
        <dsp:cNvPr id="0" name=""/>
        <dsp:cNvSpPr/>
      </dsp:nvSpPr>
      <dsp:spPr>
        <a:xfrm>
          <a:off x="5832452" y="1866074"/>
          <a:ext cx="91440" cy="2979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79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BEFD90-B3FA-491B-8769-4FA28C72A0CC}">
      <dsp:nvSpPr>
        <dsp:cNvPr id="0" name=""/>
        <dsp:cNvSpPr/>
      </dsp:nvSpPr>
      <dsp:spPr>
        <a:xfrm>
          <a:off x="4626894" y="2164059"/>
          <a:ext cx="2502555" cy="74496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kern="1200" dirty="0"/>
            <a:t>Performance </a:t>
          </a:r>
          <a:r>
            <a:rPr lang="cs-CZ" sz="1800" kern="1200" dirty="0" err="1"/>
            <a:t>based</a:t>
          </a:r>
          <a:r>
            <a:rPr lang="cs-CZ" sz="1800" kern="1200" dirty="0"/>
            <a:t> </a:t>
          </a:r>
          <a:r>
            <a:rPr lang="cs-CZ" sz="1800" kern="1200" dirty="0" err="1"/>
            <a:t>reimbursement</a:t>
          </a:r>
          <a:endParaRPr lang="cs-CZ" sz="1800" kern="1200" dirty="0"/>
        </a:p>
      </dsp:txBody>
      <dsp:txXfrm>
        <a:off x="4648713" y="2185878"/>
        <a:ext cx="2458917" cy="701326"/>
      </dsp:txXfrm>
    </dsp:sp>
    <dsp:sp modelId="{100DC28D-711C-49D4-A65F-042CE452CA96}">
      <dsp:nvSpPr>
        <dsp:cNvPr id="0" name=""/>
        <dsp:cNvSpPr/>
      </dsp:nvSpPr>
      <dsp:spPr>
        <a:xfrm>
          <a:off x="4313098" y="2909024"/>
          <a:ext cx="1565073" cy="295482"/>
        </a:xfrm>
        <a:custGeom>
          <a:avLst/>
          <a:gdLst/>
          <a:ahLst/>
          <a:cxnLst/>
          <a:rect l="0" t="0" r="0" b="0"/>
          <a:pathLst>
            <a:path>
              <a:moveTo>
                <a:pt x="1565073" y="0"/>
              </a:moveTo>
              <a:lnTo>
                <a:pt x="1565073" y="147741"/>
              </a:lnTo>
              <a:lnTo>
                <a:pt x="0" y="147741"/>
              </a:lnTo>
              <a:lnTo>
                <a:pt x="0" y="29548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661728-17A3-4151-9027-E3A50C4AC648}">
      <dsp:nvSpPr>
        <dsp:cNvPr id="0" name=""/>
        <dsp:cNvSpPr/>
      </dsp:nvSpPr>
      <dsp:spPr>
        <a:xfrm>
          <a:off x="3490892" y="3204506"/>
          <a:ext cx="1644411" cy="74496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kern="1200" dirty="0" err="1"/>
            <a:t>Outcome</a:t>
          </a:r>
          <a:r>
            <a:rPr lang="cs-CZ" sz="1800" kern="1200" dirty="0"/>
            <a:t> </a:t>
          </a:r>
          <a:r>
            <a:rPr lang="cs-CZ" sz="1800" kern="1200" dirty="0" err="1"/>
            <a:t>guarantees</a:t>
          </a:r>
          <a:endParaRPr lang="cs-CZ" sz="1800" kern="1200" dirty="0"/>
        </a:p>
      </dsp:txBody>
      <dsp:txXfrm>
        <a:off x="3512711" y="3226325"/>
        <a:ext cx="1600773" cy="701326"/>
      </dsp:txXfrm>
    </dsp:sp>
    <dsp:sp modelId="{F03FA295-B55D-48ED-AF5C-59FEB946FD46}">
      <dsp:nvSpPr>
        <dsp:cNvPr id="0" name=""/>
        <dsp:cNvSpPr/>
      </dsp:nvSpPr>
      <dsp:spPr>
        <a:xfrm>
          <a:off x="5878172" y="2909024"/>
          <a:ext cx="989822" cy="2979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8992"/>
              </a:lnTo>
              <a:lnTo>
                <a:pt x="989822" y="148992"/>
              </a:lnTo>
              <a:lnTo>
                <a:pt x="989822" y="2979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78F451-991B-47A0-BA07-3C6F12FF0B82}">
      <dsp:nvSpPr>
        <dsp:cNvPr id="0" name=""/>
        <dsp:cNvSpPr/>
      </dsp:nvSpPr>
      <dsp:spPr>
        <a:xfrm>
          <a:off x="5470538" y="3207009"/>
          <a:ext cx="2794912" cy="74496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kern="1200" dirty="0" err="1"/>
            <a:t>Patient</a:t>
          </a:r>
          <a:r>
            <a:rPr lang="cs-CZ" sz="1800" kern="1200" dirty="0"/>
            <a:t> </a:t>
          </a:r>
          <a:r>
            <a:rPr lang="cs-CZ" sz="1800" kern="1200" dirty="0" err="1"/>
            <a:t>elegibility</a:t>
          </a:r>
          <a:r>
            <a:rPr lang="cs-CZ" sz="1800" kern="1200" dirty="0"/>
            <a:t> </a:t>
          </a:r>
          <a:r>
            <a:rPr lang="cs-CZ" sz="1800" kern="1200" dirty="0" err="1"/>
            <a:t>with</a:t>
          </a:r>
          <a:r>
            <a:rPr lang="cs-CZ" sz="1800" kern="1200" dirty="0"/>
            <a:t> </a:t>
          </a:r>
          <a:r>
            <a:rPr lang="cs-CZ" sz="1800" kern="1200" dirty="0" err="1"/>
            <a:t>conditional</a:t>
          </a:r>
          <a:r>
            <a:rPr lang="cs-CZ" sz="1800" kern="1200" dirty="0"/>
            <a:t> </a:t>
          </a:r>
          <a:r>
            <a:rPr lang="cs-CZ" sz="1800" kern="1200" dirty="0" err="1"/>
            <a:t>treatment</a:t>
          </a:r>
          <a:r>
            <a:rPr lang="cs-CZ" sz="1800" kern="1200" dirty="0"/>
            <a:t> </a:t>
          </a:r>
          <a:r>
            <a:rPr lang="cs-CZ" sz="1800" kern="1200" dirty="0" err="1"/>
            <a:t>continuation</a:t>
          </a:r>
          <a:endParaRPr lang="cs-CZ" sz="1800" kern="1200" dirty="0"/>
        </a:p>
      </dsp:txBody>
      <dsp:txXfrm>
        <a:off x="5492357" y="3228828"/>
        <a:ext cx="2751274" cy="701326"/>
      </dsp:txXfrm>
    </dsp:sp>
    <dsp:sp modelId="{19E67AE5-5A46-4C75-9EE4-FD6D0C856C92}">
      <dsp:nvSpPr>
        <dsp:cNvPr id="0" name=""/>
        <dsp:cNvSpPr/>
      </dsp:nvSpPr>
      <dsp:spPr>
        <a:xfrm>
          <a:off x="7608683" y="823124"/>
          <a:ext cx="1166737" cy="2979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8992"/>
              </a:lnTo>
              <a:lnTo>
                <a:pt x="1166737" y="148992"/>
              </a:lnTo>
              <a:lnTo>
                <a:pt x="1166737" y="2979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0AE302-927E-4332-B1B9-E52F15A2FEA8}">
      <dsp:nvSpPr>
        <dsp:cNvPr id="0" name=""/>
        <dsp:cNvSpPr/>
      </dsp:nvSpPr>
      <dsp:spPr>
        <a:xfrm>
          <a:off x="7272901" y="1121109"/>
          <a:ext cx="3005037" cy="74496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900" kern="1200" dirty="0"/>
            <a:t>Evidence </a:t>
          </a:r>
          <a:r>
            <a:rPr lang="cs-CZ" sz="1900" kern="1200" dirty="0" err="1"/>
            <a:t>regarding</a:t>
          </a:r>
          <a:r>
            <a:rPr lang="cs-CZ" sz="1900" kern="1200" dirty="0"/>
            <a:t> </a:t>
          </a:r>
          <a:r>
            <a:rPr lang="cs-CZ" sz="1900" kern="1200" dirty="0" err="1"/>
            <a:t>decision</a:t>
          </a:r>
          <a:r>
            <a:rPr lang="cs-CZ" sz="1900" kern="1200" dirty="0"/>
            <a:t> </a:t>
          </a:r>
          <a:r>
            <a:rPr lang="cs-CZ" sz="1900" kern="1200" dirty="0" err="1"/>
            <a:t>uncertainty</a:t>
          </a:r>
          <a:endParaRPr lang="cs-CZ" sz="1900" kern="1200" dirty="0"/>
        </a:p>
      </dsp:txBody>
      <dsp:txXfrm>
        <a:off x="7294720" y="1142928"/>
        <a:ext cx="2961399" cy="701326"/>
      </dsp:txXfrm>
    </dsp:sp>
    <dsp:sp modelId="{8EC8DC81-9B98-4728-984C-4D907C3DCFA3}">
      <dsp:nvSpPr>
        <dsp:cNvPr id="0" name=""/>
        <dsp:cNvSpPr/>
      </dsp:nvSpPr>
      <dsp:spPr>
        <a:xfrm>
          <a:off x="8729700" y="1866074"/>
          <a:ext cx="91440" cy="2979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79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B9C5DB-53E9-44E9-92CB-10D41A0AF431}">
      <dsp:nvSpPr>
        <dsp:cNvPr id="0" name=""/>
        <dsp:cNvSpPr/>
      </dsp:nvSpPr>
      <dsp:spPr>
        <a:xfrm>
          <a:off x="7464683" y="2164059"/>
          <a:ext cx="2621473" cy="744964"/>
        </a:xfrm>
        <a:prstGeom prst="roundRect">
          <a:avLst>
            <a:gd name="adj" fmla="val 10000"/>
          </a:avLst>
        </a:prstGeom>
        <a:solidFill>
          <a:srgbClr val="A4007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kern="1200" dirty="0" err="1"/>
            <a:t>Coverage</a:t>
          </a:r>
          <a:r>
            <a:rPr lang="cs-CZ" sz="1800" kern="1200" dirty="0"/>
            <a:t> </a:t>
          </a:r>
          <a:r>
            <a:rPr lang="cs-CZ" sz="1800" kern="1200" dirty="0" err="1"/>
            <a:t>with</a:t>
          </a:r>
          <a:r>
            <a:rPr lang="cs-CZ" sz="1800" kern="1200" dirty="0"/>
            <a:t> evidence development</a:t>
          </a:r>
        </a:p>
      </dsp:txBody>
      <dsp:txXfrm>
        <a:off x="7486502" y="2185878"/>
        <a:ext cx="2577835" cy="70132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2BD1C9-F271-4295-A2BE-2AFF4678C3E8}">
      <dsp:nvSpPr>
        <dsp:cNvPr id="0" name=""/>
        <dsp:cNvSpPr/>
      </dsp:nvSpPr>
      <dsp:spPr>
        <a:xfrm rot="5400000">
          <a:off x="-103360" y="283043"/>
          <a:ext cx="689070" cy="482349"/>
        </a:xfrm>
        <a:prstGeom prst="chevron">
          <a:avLst/>
        </a:prstGeom>
        <a:solidFill>
          <a:srgbClr val="A40071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3200" b="0" kern="1200" dirty="0">
            <a:solidFill>
              <a:schemeClr val="accent1"/>
            </a:solidFill>
            <a:latin typeface="+mj-lt"/>
          </a:endParaRPr>
        </a:p>
      </dsp:txBody>
      <dsp:txXfrm rot="-5400000">
        <a:off x="1" y="420858"/>
        <a:ext cx="482349" cy="206721"/>
      </dsp:txXfrm>
    </dsp:sp>
    <dsp:sp modelId="{28D4BFFE-84B7-4902-B04E-2E59D33E9BA7}">
      <dsp:nvSpPr>
        <dsp:cNvPr id="0" name=""/>
        <dsp:cNvSpPr/>
      </dsp:nvSpPr>
      <dsp:spPr>
        <a:xfrm rot="5400000">
          <a:off x="4393987" y="-3911637"/>
          <a:ext cx="818574" cy="864184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ctr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cs-CZ" sz="3200" b="0" kern="1200" dirty="0" err="1">
              <a:latin typeface="+mj-lt"/>
            </a:rPr>
            <a:t>Managed</a:t>
          </a:r>
          <a:r>
            <a:rPr lang="cs-CZ" sz="3200" b="0" kern="1200" dirty="0">
              <a:latin typeface="+mj-lt"/>
            </a:rPr>
            <a:t> </a:t>
          </a:r>
          <a:r>
            <a:rPr lang="cs-CZ" sz="3200" b="0" kern="1200" dirty="0" err="1">
              <a:latin typeface="+mj-lt"/>
            </a:rPr>
            <a:t>entry</a:t>
          </a:r>
          <a:r>
            <a:rPr lang="cs-CZ" sz="3200" b="0" kern="1200" dirty="0">
              <a:latin typeface="+mj-lt"/>
            </a:rPr>
            <a:t> </a:t>
          </a:r>
          <a:r>
            <a:rPr lang="cs-CZ" sz="3200" b="0" kern="1200" dirty="0" err="1">
              <a:latin typeface="+mj-lt"/>
            </a:rPr>
            <a:t>schemes</a:t>
          </a:r>
          <a:r>
            <a:rPr lang="cs-CZ" sz="3200" b="0" kern="1200" dirty="0">
              <a:latin typeface="+mj-lt"/>
            </a:rPr>
            <a:t> – performance  </a:t>
          </a:r>
        </a:p>
      </dsp:txBody>
      <dsp:txXfrm rot="-5400000">
        <a:off x="482350" y="39959"/>
        <a:ext cx="8601890" cy="7386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0CB8F-7A73-48FD-9671-387E3C7C4921}" type="datetimeFigureOut">
              <a:rPr lang="en-GB" smtClean="0"/>
              <a:t>27/04/2022</a:t>
            </a:fld>
            <a:endParaRPr lang="en-GB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1CE980-080C-4B9D-98B3-7F51F4D8BD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868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>
            <a:extLst>
              <a:ext uri="{FF2B5EF4-FFF2-40B4-BE49-F238E27FC236}">
                <a16:creationId xmlns:a16="http://schemas.microsoft.com/office/drawing/2014/main" id="{8349BB33-2AD7-4E8E-8BF4-6222A5B86FE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Notes Placeholder 2">
            <a:extLst>
              <a:ext uri="{FF2B5EF4-FFF2-40B4-BE49-F238E27FC236}">
                <a16:creationId xmlns:a16="http://schemas.microsoft.com/office/drawing/2014/main" id="{FC1BB962-3E21-4843-9629-26DC011F056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cs-CZ"/>
          </a:p>
        </p:txBody>
      </p:sp>
      <p:sp>
        <p:nvSpPr>
          <p:cNvPr id="57348" name="Slide Number Placeholder 3">
            <a:extLst>
              <a:ext uri="{FF2B5EF4-FFF2-40B4-BE49-F238E27FC236}">
                <a16:creationId xmlns:a16="http://schemas.microsoft.com/office/drawing/2014/main" id="{3FDCED20-CCDD-4541-9C9E-776DBFAA830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556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556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556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5567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55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B43AB64-D328-412B-AAA3-F2DADBF4E1BB}" type="slidenum">
              <a:rPr kumimoji="0" lang="en-US" altLang="cs-CZ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556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cs-CZ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7B62DC-4766-4339-9D4F-815CEEE023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2603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7B62DC-4766-4339-9D4F-815CEEE023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12572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7B62DC-4766-4339-9D4F-815CEEE023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36864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Dopad:	Počáteční sleva na všechny dávky nebo volné počáteční dávky pro oprávněné pacienty </a:t>
            </a:r>
          </a:p>
          <a:p>
            <a:r>
              <a:rPr lang="cs-CZ" dirty="0"/>
              <a:t>	Slevy nebo volné dávky po dosažení dohodnutého limitu výdajů / objemu </a:t>
            </a:r>
          </a:p>
          <a:p>
            <a:r>
              <a:rPr lang="cs-CZ" dirty="0"/>
              <a:t>	Náhrada výdajů, které jsou vyšší než předpokládané </a:t>
            </a:r>
          </a:p>
          <a:p>
            <a:r>
              <a:rPr lang="cs-CZ" dirty="0"/>
              <a:t>	Uzávěrka na počet dávek/celkových nákladů hrazených na pacienta, po které výrobce převezme náklady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7627FE-A0C4-41FF-971E-17AF568B4C5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5025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Dopad:	</a:t>
            </a:r>
            <a:r>
              <a:rPr lang="cs-CZ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áhrada, pokud lék není účinný </a:t>
            </a:r>
          </a:p>
          <a:p>
            <a:r>
              <a:rPr lang="cs-CZ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Přerušení léčby, pokud lék není účinný podle předem stanovených cílů </a:t>
            </a:r>
          </a:p>
          <a:p>
            <a:r>
              <a:rPr lang="cs-CZ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Sleva, pokud lék není účinný nebo méně účinný, než se očekávalo </a:t>
            </a:r>
          </a:p>
          <a:p>
            <a:r>
              <a:rPr lang="cs-CZ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Přehodnocení, které může vést ke změně cen, uzavření nových dohod nebo novému rozhodnutí o úhradě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7627FE-A0C4-41FF-971E-17AF568B4C5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7610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7B62DC-4766-4339-9D4F-815CEEE023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42927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7B62DC-4766-4339-9D4F-815CEEE023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55786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7B62DC-4766-4339-9D4F-815CEEE023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499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81A9A206-5E5E-41AF-90C1-49255CD0CBE2}"/>
              </a:ext>
            </a:extLst>
          </p:cNvPr>
          <p:cNvSpPr/>
          <p:nvPr/>
        </p:nvSpPr>
        <p:spPr>
          <a:xfrm>
            <a:off x="4234" y="6400800"/>
            <a:ext cx="12187767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24202C03-6CC1-47C0-B294-F5DCA7E9C9C5}"/>
              </a:ext>
            </a:extLst>
          </p:cNvPr>
          <p:cNvSpPr/>
          <p:nvPr/>
        </p:nvSpPr>
        <p:spPr>
          <a:xfrm>
            <a:off x="1" y="6334125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0F881589-4824-4C73-9456-B0BD546B3D47}"/>
              </a:ext>
            </a:extLst>
          </p:cNvPr>
          <p:cNvCxnSpPr/>
          <p:nvPr/>
        </p:nvCxnSpPr>
        <p:spPr>
          <a:xfrm>
            <a:off x="1208618" y="4343400"/>
            <a:ext cx="9874249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/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lze upravit styl předlohy.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8D339D8-D852-48FF-B036-15B7DEB37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19CF9D-F5D7-40D6-89E7-254B5602D392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252196-D87D-4FF8-ACDE-E8FB840AB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B500493-C003-4644-8C79-A287573B3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F7C3D3-EBB3-47F6-89CD-3E0510B21A6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66668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941B01-7A4A-481C-9F1A-8B539E304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DCFF37-72EF-4FC6-B311-B55B6F1FDAD7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AAFFE1-19E1-4E34-9066-F543226DD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4AF4B6-4B7E-4E50-BA80-44243A1D3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0DE686-3725-4A9D-A794-C9CFE3C040E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36665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CDA9C750-0078-4175-AC23-C5C6E3A1EE46}"/>
              </a:ext>
            </a:extLst>
          </p:cNvPr>
          <p:cNvSpPr/>
          <p:nvPr/>
        </p:nvSpPr>
        <p:spPr>
          <a:xfrm>
            <a:off x="4234" y="6400800"/>
            <a:ext cx="12187767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02C52F65-7EE5-47C4-BCE2-1451FCCCC8E0}"/>
              </a:ext>
            </a:extLst>
          </p:cNvPr>
          <p:cNvSpPr/>
          <p:nvPr/>
        </p:nvSpPr>
        <p:spPr>
          <a:xfrm>
            <a:off x="1" y="6334125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4786"/>
            <a:ext cx="2628900" cy="5757421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8762C6F3-FC72-4E40-815E-4BA4469A4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5DE7F2-AA01-465E-8AE6-B4722A5121B7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494F06-AF66-4B72-8D34-FB5C76852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6452745-5381-4856-AAAE-87440303D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F90F99-81EA-4593-A1E8-186B2063F10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76598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>
            <a:extLst>
              <a:ext uri="{FF2B5EF4-FFF2-40B4-BE49-F238E27FC236}">
                <a16:creationId xmlns:a16="http://schemas.microsoft.com/office/drawing/2014/main" id="{084F491D-F66B-47F4-8C4E-51E0555DFE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7">
            <a:extLst>
              <a:ext uri="{FF2B5EF4-FFF2-40B4-BE49-F238E27FC236}">
                <a16:creationId xmlns:a16="http://schemas.microsoft.com/office/drawing/2014/main" id="{16730ADB-45B7-42E6-8BCC-45210651380D}"/>
              </a:ext>
            </a:extLst>
          </p:cNvPr>
          <p:cNvSpPr/>
          <p:nvPr/>
        </p:nvSpPr>
        <p:spPr>
          <a:xfrm>
            <a:off x="531284" y="5051425"/>
            <a:ext cx="11125200" cy="6477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800"/>
          </a:p>
        </p:txBody>
      </p:sp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7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60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80297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621339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>
            <a:extLst>
              <a:ext uri="{FF2B5EF4-FFF2-40B4-BE49-F238E27FC236}">
                <a16:creationId xmlns:a16="http://schemas.microsoft.com/office/drawing/2014/main" id="{6C833C7A-F55F-4257-B655-01B2A363BB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7">
            <a:extLst>
              <a:ext uri="{FF2B5EF4-FFF2-40B4-BE49-F238E27FC236}">
                <a16:creationId xmlns:a16="http://schemas.microsoft.com/office/drawing/2014/main" id="{3FC4DA16-C92F-4BC2-860F-3D18D80E753A}"/>
              </a:ext>
            </a:extLst>
          </p:cNvPr>
          <p:cNvSpPr/>
          <p:nvPr/>
        </p:nvSpPr>
        <p:spPr>
          <a:xfrm>
            <a:off x="531284" y="5051425"/>
            <a:ext cx="11125200" cy="6477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800"/>
          </a:p>
        </p:txBody>
      </p:sp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7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60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80297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692046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>
            <a:extLst>
              <a:ext uri="{FF2B5EF4-FFF2-40B4-BE49-F238E27FC236}">
                <a16:creationId xmlns:a16="http://schemas.microsoft.com/office/drawing/2014/main" id="{5AD8CB0A-9BD2-44D5-B445-AB989A449F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7">
            <a:extLst>
              <a:ext uri="{FF2B5EF4-FFF2-40B4-BE49-F238E27FC236}">
                <a16:creationId xmlns:a16="http://schemas.microsoft.com/office/drawing/2014/main" id="{6BA285B9-D51E-4628-84DA-2DE889CAE46C}"/>
              </a:ext>
            </a:extLst>
          </p:cNvPr>
          <p:cNvSpPr/>
          <p:nvPr/>
        </p:nvSpPr>
        <p:spPr>
          <a:xfrm>
            <a:off x="531284" y="5051425"/>
            <a:ext cx="11125200" cy="6477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800"/>
          </a:p>
        </p:txBody>
      </p:sp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7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60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80297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95948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>
            <a:extLst>
              <a:ext uri="{FF2B5EF4-FFF2-40B4-BE49-F238E27FC236}">
                <a16:creationId xmlns:a16="http://schemas.microsoft.com/office/drawing/2014/main" id="{D0ED2980-8EDF-4E5E-B11D-8E30A66456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7">
            <a:extLst>
              <a:ext uri="{FF2B5EF4-FFF2-40B4-BE49-F238E27FC236}">
                <a16:creationId xmlns:a16="http://schemas.microsoft.com/office/drawing/2014/main" id="{B9EE985E-16E1-4B9C-8112-7E9D526AAD99}"/>
              </a:ext>
            </a:extLst>
          </p:cNvPr>
          <p:cNvSpPr/>
          <p:nvPr/>
        </p:nvSpPr>
        <p:spPr>
          <a:xfrm>
            <a:off x="531284" y="5051425"/>
            <a:ext cx="11125200" cy="6477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800"/>
          </a:p>
        </p:txBody>
      </p:sp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7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60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80297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508133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Nadpis a diagram nebo organizační sché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0" y="277820"/>
            <a:ext cx="10972800" cy="1139825"/>
          </a:xfrm>
        </p:spPr>
        <p:txBody>
          <a:bodyPr/>
          <a:lstStyle/>
          <a:p>
            <a:r>
              <a:rPr lang="cs-CZ"/>
              <a:t>Klepnutím lze upravit styl předlohy nadpisů.</a:t>
            </a:r>
            <a:endParaRPr lang="en-GB"/>
          </a:p>
        </p:txBody>
      </p:sp>
      <p:sp>
        <p:nvSpPr>
          <p:cNvPr id="3" name="Zástupný symbol pro objekt SmartArt 2"/>
          <p:cNvSpPr>
            <a:spLocks noGrp="1"/>
          </p:cNvSpPr>
          <p:nvPr>
            <p:ph type="dgm" idx="1"/>
          </p:nvPr>
        </p:nvSpPr>
        <p:spPr>
          <a:xfrm>
            <a:off x="609600" y="1600206"/>
            <a:ext cx="10972800" cy="4530725"/>
          </a:xfrm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F1A34C-FA5A-40F9-9C5A-FB1031D0B2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8400"/>
            <a:ext cx="2844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D998A50-4A0F-4C80-9850-D63C39BAA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2F2E764-7E80-4EE4-9177-90E023A0A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</p:spPr>
        <p:txBody>
          <a:bodyPr/>
          <a:lstStyle>
            <a:lvl1pPr>
              <a:defRPr/>
            </a:lvl1pPr>
          </a:lstStyle>
          <a:p>
            <a:fld id="{C11B07EA-48FE-4CE1-A60C-BA32181F0E4A}" type="slidenum">
              <a:rPr lang="cs-CZ" altLang="en-US"/>
              <a:pPr/>
              <a:t>‹#›</a:t>
            </a:fld>
            <a:endParaRPr lang="cs-CZ" altLang="en-US"/>
          </a:p>
        </p:txBody>
      </p:sp>
    </p:spTree>
    <p:extLst>
      <p:ext uri="{BB962C8B-B14F-4D97-AF65-F5344CB8AC3E}">
        <p14:creationId xmlns:p14="http://schemas.microsoft.com/office/powerpoint/2010/main" val="40716592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11">
            <a:extLst>
              <a:ext uri="{FF2B5EF4-FFF2-40B4-BE49-F238E27FC236}">
                <a16:creationId xmlns:a16="http://schemas.microsoft.com/office/drawing/2014/main" id="{B568B8DD-DE92-4604-9592-510B94B1E7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ástupný symbol pro obsah 2"/>
          <p:cNvSpPr>
            <a:spLocks noGrp="1"/>
          </p:cNvSpPr>
          <p:nvPr>
            <p:ph idx="1"/>
          </p:nvPr>
        </p:nvSpPr>
        <p:spPr>
          <a:xfrm>
            <a:off x="1355315" y="2458049"/>
            <a:ext cx="10094912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0"/>
          </p:nvPr>
        </p:nvSpPr>
        <p:spPr>
          <a:xfrm>
            <a:off x="1355315" y="3717032"/>
            <a:ext cx="10094912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1"/>
          </p:nvPr>
        </p:nvSpPr>
        <p:spPr>
          <a:xfrm>
            <a:off x="1351552" y="4149080"/>
            <a:ext cx="10094912" cy="5040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rgbClr val="B1006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201702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11">
            <a:extLst>
              <a:ext uri="{FF2B5EF4-FFF2-40B4-BE49-F238E27FC236}">
                <a16:creationId xmlns:a16="http://schemas.microsoft.com/office/drawing/2014/main" id="{5AF69F12-C3F3-4B31-8D9C-8E2630402C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ástupný symbol pro obsah 2"/>
          <p:cNvSpPr>
            <a:spLocks noGrp="1"/>
          </p:cNvSpPr>
          <p:nvPr>
            <p:ph idx="1"/>
          </p:nvPr>
        </p:nvSpPr>
        <p:spPr>
          <a:xfrm>
            <a:off x="1355315" y="2458049"/>
            <a:ext cx="10094912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0"/>
          </p:nvPr>
        </p:nvSpPr>
        <p:spPr>
          <a:xfrm>
            <a:off x="1355315" y="3717032"/>
            <a:ext cx="10094912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1"/>
          </p:nvPr>
        </p:nvSpPr>
        <p:spPr>
          <a:xfrm>
            <a:off x="1351552" y="4149080"/>
            <a:ext cx="10094912" cy="5040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rgbClr val="B1006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789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15413" y="1556796"/>
            <a:ext cx="10766987" cy="456937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949597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0" name="Zástupný symbol pro nadpis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7893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effectLst/>
        </p:spPr>
        <p:txBody>
          <a:bodyPr/>
          <a:lstStyle/>
          <a:p>
            <a:r>
              <a:rPr lang="cs-CZ" dirty="0"/>
              <a:t>Nadpis stránky</a:t>
            </a:r>
          </a:p>
        </p:txBody>
      </p:sp>
    </p:spTree>
    <p:extLst>
      <p:ext uri="{BB962C8B-B14F-4D97-AF65-F5344CB8AC3E}">
        <p14:creationId xmlns:p14="http://schemas.microsoft.com/office/powerpoint/2010/main" val="3618527790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886BB-44A2-49DF-B472-89CF85317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1E41CC-0E39-44CC-94F4-2A957C8CCBBE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648AE2-0157-4C8B-8724-E6AB71731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9FB94A-94CC-4CCA-88C1-8A4CDE2BA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967083-8BC5-4626-AB75-661E2965F73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37092961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3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56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5C5C5C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91478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993058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15413" y="1556793"/>
            <a:ext cx="10766987" cy="456937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5C5C5C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solidFill>
                  <a:srgbClr val="5C5C5C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0" name="Zástupný symbol pro nadpis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78936"/>
          </a:xfrm>
          <a:prstGeom prst="rect">
            <a:avLst/>
          </a:prstGeom>
          <a:gradFill>
            <a:gsLst>
              <a:gs pos="0">
                <a:schemeClr val="bg1">
                  <a:lumMod val="61000"/>
                </a:schemeClr>
              </a:gs>
              <a:gs pos="100000">
                <a:schemeClr val="bg1">
                  <a:lumMod val="43000"/>
                </a:schemeClr>
              </a:gs>
            </a:gsLst>
            <a:lin ang="0" scaled="0"/>
          </a:gradFill>
          <a:effectLst/>
        </p:spPr>
        <p:txBody>
          <a:bodyPr/>
          <a:lstStyle/>
          <a:p>
            <a:r>
              <a:rPr lang="cs-CZ" dirty="0"/>
              <a:t>Nadpis stránky</a:t>
            </a:r>
          </a:p>
        </p:txBody>
      </p:sp>
    </p:spTree>
    <p:extLst>
      <p:ext uri="{BB962C8B-B14F-4D97-AF65-F5344CB8AC3E}">
        <p14:creationId xmlns:p14="http://schemas.microsoft.com/office/powerpoint/2010/main" val="2426337349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2"/>
          <p:cNvSpPr>
            <a:spLocks noGrp="1"/>
          </p:cNvSpPr>
          <p:nvPr>
            <p:ph idx="1"/>
          </p:nvPr>
        </p:nvSpPr>
        <p:spPr>
          <a:xfrm>
            <a:off x="1355315" y="2458049"/>
            <a:ext cx="10094912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0"/>
          </p:nvPr>
        </p:nvSpPr>
        <p:spPr>
          <a:xfrm>
            <a:off x="1355315" y="3717032"/>
            <a:ext cx="10094912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5C5C5C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1"/>
          </p:nvPr>
        </p:nvSpPr>
        <p:spPr>
          <a:xfrm>
            <a:off x="1351552" y="4149080"/>
            <a:ext cx="10094912" cy="5040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rgbClr val="B1006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134616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657B389-5621-48FD-8BE1-9FC3019A78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38E4E59-72F3-45D2-814B-6A3F8E618F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0EF04C-7EF8-4F15-89E7-9CBE22C622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793C6BA-9AE8-49A8-B592-28D069836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471E43F-D00B-417E-818F-74395B970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84504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8E3A03-4DCD-4CD3-B5F1-5C85F0298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AD8E801F-0445-44E7-9719-7CCB522355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0394C7-5391-49C8-9CE9-F15F3E76F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787F71E-43C9-4CEC-8E08-8EAE4ACBF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496B328-6A78-4BAD-8C28-8AB81B7FB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1783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4D1765-B921-4727-A69B-2ADB55085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61341F0E-CEC8-477C-B5D5-742EBE642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CE0E49F-41C8-4F62-9FE6-D6C451A0DF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CA886B8-0DC8-4A8B-8D05-32BA489B5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5D04374-6E54-4D59-AF14-265D9FEA5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18797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58A0AF9-1FCF-4B0E-8176-0BD46399F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E3642C1E-75FD-4AF6-BF4D-536C907591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A1188D4-615A-48DE-B666-C285BE4B24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9173A80-C73D-4535-9FBE-12571214E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777B3C43-382F-4000-9095-32F63EA4F2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BDC45C9-07DD-41ED-A71F-34AA5A2BB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212229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5949B8E-5BE8-446E-9918-BB6AFC449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27627366-2356-4370-A897-FF789AE478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C6C83E1D-3A9B-4A93-B899-7C5F8B8861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EB1A95F8-56A9-42F0-888A-2FB12A6371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97D9E183-BBA7-4B9E-9C10-5AA9C4CEF70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B746B6F2-F020-4764-A1D9-F1A351408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820F980-9DB0-483E-A461-7F67F7B3D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C60C893-A554-4F3E-A3B2-5B360650A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7902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9F3CA6D-F839-4B0D-B2CB-29D1306C3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F2BCFCB5-68E8-4702-B9D0-124FEE22D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99DE158-C9BF-42A1-9141-42D447E54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802C42D5-0A40-47B6-815D-E88B0E904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239143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999E973-4F45-490E-991D-5D1EC46CD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BF4D17A1-20D5-46E2-AD03-EC8EB6319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E0F53F2-5048-48AF-BA49-2A9B3099D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92791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70DB36F4-43F9-4232-B171-40EAE78C9C66}"/>
              </a:ext>
            </a:extLst>
          </p:cNvPr>
          <p:cNvSpPr/>
          <p:nvPr/>
        </p:nvSpPr>
        <p:spPr>
          <a:xfrm>
            <a:off x="4234" y="6400800"/>
            <a:ext cx="12187767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5E543A26-9413-473C-981F-354F4F65879B}"/>
              </a:ext>
            </a:extLst>
          </p:cNvPr>
          <p:cNvSpPr/>
          <p:nvPr/>
        </p:nvSpPr>
        <p:spPr>
          <a:xfrm>
            <a:off x="1" y="6334125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83FBDC9C-A2EC-4CDD-8E7F-7D5A820A4786}"/>
              </a:ext>
            </a:extLst>
          </p:cNvPr>
          <p:cNvCxnSpPr/>
          <p:nvPr/>
        </p:nvCxnSpPr>
        <p:spPr>
          <a:xfrm>
            <a:off x="1208618" y="4343400"/>
            <a:ext cx="9874249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Ctr="0"/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E793AE9-7552-444D-9D41-041B6DCB20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9A942-1711-4A7B-AF6F-FFE241E3E260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88F8B0-E8EF-4ADE-AD2F-E6D780401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83D7E8F-644B-4850-8352-741C0312B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8DB8EC-8475-4024-A865-E3EC6C2C29E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347767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19BA25-8C1E-4380-9BEB-F774B4677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99F4D09F-FE2F-44DF-9C06-79D4A95500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370B3662-A901-4953-9DC5-35825B5BA8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A94C56BB-4A0E-4E4C-8147-6F0A30D036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A01A6C0-D7D6-4FF6-8811-9282C3A0C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E89BD57-C2AA-4141-B6C2-551052903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645137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C118369-464C-4ACB-AAB4-02A7303658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AFA74753-ED29-43E0-98A1-8D3BD38D348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4FE99792-3AFC-4BAE-8686-28B6417AF2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D68D546-438A-46E2-8A0A-237B788224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3596C4A-2F64-4F4D-9A5B-B9C305242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1962016-B444-4F1D-B94E-5802A05FF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92211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4C3594-3762-48B7-B797-3E9844A20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669D1254-FE04-4930-A703-49042A1155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A65C7A0-285E-498A-9C80-65F7ED0A56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BEF9909-6FAD-423E-8EBC-B5F424DD5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45C9B3B-7CB2-4712-91C7-3AE58E67D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39611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C6D04144-CF20-46E7-989A-4A14ECAE088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889578D-D498-4E5F-8A1F-A5D1076AAE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09241A-782D-4353-8468-5215D7364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B113150-F372-43A3-BEFE-855A0C9326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3A13195-EF90-404D-A316-C0C8955B1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02402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237" y="395290"/>
            <a:ext cx="9593791" cy="51397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235" y="1676401"/>
            <a:ext cx="10974915" cy="4391027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512234" y="921023"/>
            <a:ext cx="9593793" cy="412861"/>
          </a:xfrm>
        </p:spPr>
        <p:txBody>
          <a:bodyPr/>
          <a:lstStyle>
            <a:lvl1pPr marL="0" indent="0">
              <a:buNone/>
              <a:defRPr sz="1800" b="0" i="1">
                <a:solidFill>
                  <a:schemeClr val="tx2"/>
                </a:solidFill>
                <a:latin typeface="Minion" pitchFamily="2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F490C4B-B44B-44BF-8577-D54E3A25C3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46102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">
            <a:extLst>
              <a:ext uri="{FF2B5EF4-FFF2-40B4-BE49-F238E27FC236}">
                <a16:creationId xmlns:a16="http://schemas.microsoft.com/office/drawing/2014/main" id="{72AD58D6-9EA0-4878-B5DD-C4FE4364F016}"/>
              </a:ext>
            </a:extLst>
          </p:cNvPr>
          <p:cNvSpPr txBox="1"/>
          <p:nvPr userDrawn="1"/>
        </p:nvSpPr>
        <p:spPr>
          <a:xfrm>
            <a:off x="7395634" y="6410326"/>
            <a:ext cx="4279900" cy="360363"/>
          </a:xfrm>
          <a:prstGeom prst="rect">
            <a:avLst/>
          </a:prstGeom>
          <a:solidFill>
            <a:schemeClr val="tx1"/>
          </a:solidFill>
        </p:spPr>
        <p:txBody>
          <a:bodyPr lIns="0" tIns="0" rIns="0" bIns="0"/>
          <a:lstStyle/>
          <a:p>
            <a:pPr algn="r">
              <a:defRPr/>
            </a:pPr>
            <a:r>
              <a:rPr lang="en-US" sz="1350" i="1" dirty="0">
                <a:latin typeface="Minion" panose="02040503050201020203" pitchFamily="18" charset="0"/>
              </a:rPr>
              <a:t>Medical Affairs PHC and Patient Acces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237" y="395290"/>
            <a:ext cx="9593791" cy="51397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AC883B57-F342-4924-8A15-5564F969E2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5721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3805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 Tabl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773" y="355603"/>
            <a:ext cx="10158696" cy="55879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pl-PL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2"/>
          </p:nvPr>
        </p:nvSpPr>
        <p:spPr>
          <a:xfrm>
            <a:off x="512232" y="846173"/>
            <a:ext cx="10155768" cy="489563"/>
          </a:xfrm>
        </p:spPr>
        <p:txBody>
          <a:bodyPr/>
          <a:lstStyle>
            <a:lvl1pPr marL="0" indent="0">
              <a:buNone/>
              <a:defRPr sz="2400" b="0" i="1">
                <a:solidFill>
                  <a:schemeClr val="bg1"/>
                </a:solidFill>
                <a:latin typeface="Minion" pitchFamily="2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512232" y="3423386"/>
            <a:ext cx="5475819" cy="489563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500" b="1" i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512232" y="3912949"/>
            <a:ext cx="5475819" cy="2247269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473175" indent="-257175" algn="l">
              <a:buFont typeface="Arial" panose="020B0604020202020204" pitchFamily="34" charset="0"/>
              <a:buChar char="•"/>
              <a:defRPr sz="150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6210505" y="3423386"/>
            <a:ext cx="5475819" cy="489563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500" b="1" i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6210505" y="3912949"/>
            <a:ext cx="5475819" cy="2247269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473175" indent="-257175" algn="l">
              <a:buFont typeface="Arial" panose="020B0604020202020204" pitchFamily="34" charset="0"/>
              <a:buChar char="•"/>
              <a:defRPr sz="150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89509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 Tabl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773" y="355603"/>
            <a:ext cx="10158696" cy="55879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pl-PL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2"/>
          </p:nvPr>
        </p:nvSpPr>
        <p:spPr>
          <a:xfrm>
            <a:off x="512232" y="846173"/>
            <a:ext cx="10155768" cy="489563"/>
          </a:xfrm>
        </p:spPr>
        <p:txBody>
          <a:bodyPr/>
          <a:lstStyle>
            <a:lvl1pPr marL="0" indent="0">
              <a:buNone/>
              <a:defRPr sz="2400" b="0" i="1">
                <a:solidFill>
                  <a:schemeClr val="bg1"/>
                </a:solidFill>
                <a:latin typeface="Minion" pitchFamily="2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512232" y="1520826"/>
            <a:ext cx="5475819" cy="489563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spcAft>
                <a:spcPts val="600"/>
              </a:spcAft>
              <a:buNone/>
              <a:defRPr sz="1200" b="1" i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>
                <a:sym typeface="Imago" pitchFamily="2" charset="0"/>
              </a:rPr>
              <a:t>Po kliknutí můžete upravovat styly textu v předloze.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2059461" y="2102647"/>
            <a:ext cx="3928591" cy="1306800"/>
          </a:xfrm>
          <a:solidFill>
            <a:schemeClr val="bg1">
              <a:lumMod val="20000"/>
              <a:lumOff val="80000"/>
            </a:schemeClr>
          </a:solidFill>
        </p:spPr>
        <p:txBody>
          <a:bodyPr anchor="ctr"/>
          <a:lstStyle>
            <a:lvl1pPr marL="81000" indent="0" algn="l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3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6210505" y="1520826"/>
            <a:ext cx="5475819" cy="489563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spcAft>
                <a:spcPts val="600"/>
              </a:spcAft>
              <a:buNone/>
              <a:defRPr sz="1500" b="1" i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r>
              <a:rPr lang="en-US" dirty="0">
                <a:sym typeface="Imago" pitchFamily="2" charset="0"/>
              </a:rPr>
              <a:t>Edi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6"/>
          </p:nvPr>
        </p:nvSpPr>
        <p:spPr>
          <a:xfrm>
            <a:off x="6210505" y="2203009"/>
            <a:ext cx="5475819" cy="3957211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378000" indent="-257175" algn="l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 sz="13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7"/>
          </p:nvPr>
        </p:nvSpPr>
        <p:spPr>
          <a:xfrm>
            <a:off x="512957" y="2102647"/>
            <a:ext cx="1427356" cy="1306800"/>
          </a:xfrm>
          <a:solidFill>
            <a:schemeClr val="bg1">
              <a:lumMod val="60000"/>
              <a:lumOff val="4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r>
              <a:rPr lang="en-US" dirty="0">
                <a:sym typeface="Imago" pitchFamily="2" charset="0"/>
              </a:rPr>
              <a:t>Edi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8"/>
          </p:nvPr>
        </p:nvSpPr>
        <p:spPr>
          <a:xfrm>
            <a:off x="2059461" y="3474245"/>
            <a:ext cx="3928591" cy="1306800"/>
          </a:xfrm>
          <a:solidFill>
            <a:schemeClr val="bg1">
              <a:lumMod val="20000"/>
              <a:lumOff val="80000"/>
            </a:schemeClr>
          </a:solidFill>
        </p:spPr>
        <p:txBody>
          <a:bodyPr anchor="ctr"/>
          <a:lstStyle>
            <a:lvl1pPr marL="81000" indent="0" algn="l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3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9"/>
          </p:nvPr>
        </p:nvSpPr>
        <p:spPr>
          <a:xfrm>
            <a:off x="512955" y="3474245"/>
            <a:ext cx="1427357" cy="1306800"/>
          </a:xfrm>
          <a:solidFill>
            <a:schemeClr val="bg1"/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>
                <a:sym typeface="Imago" pitchFamily="2" charset="0"/>
              </a:rPr>
              <a:t>Edi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0"/>
          </p:nvPr>
        </p:nvSpPr>
        <p:spPr>
          <a:xfrm>
            <a:off x="2059461" y="4834691"/>
            <a:ext cx="3928591" cy="1306800"/>
          </a:xfrm>
          <a:solidFill>
            <a:schemeClr val="bg1">
              <a:lumMod val="20000"/>
              <a:lumOff val="80000"/>
            </a:schemeClr>
          </a:solidFill>
        </p:spPr>
        <p:txBody>
          <a:bodyPr anchor="ctr"/>
          <a:lstStyle>
            <a:lvl1pPr marL="81000" indent="0" algn="l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13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1"/>
          </p:nvPr>
        </p:nvSpPr>
        <p:spPr>
          <a:xfrm>
            <a:off x="512957" y="4834691"/>
            <a:ext cx="1427356" cy="13068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>
                <a:sym typeface="Imago" pitchFamily="2" charset="0"/>
              </a:rPr>
              <a:t>Edit</a:t>
            </a:r>
          </a:p>
        </p:txBody>
      </p:sp>
    </p:spTree>
    <p:extLst>
      <p:ext uri="{BB962C8B-B14F-4D97-AF65-F5344CB8AC3E}">
        <p14:creationId xmlns:p14="http://schemas.microsoft.com/office/powerpoint/2010/main" val="12932041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Colu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3E81E08D-1C9F-47DD-AC50-421B68193E26}"/>
              </a:ext>
            </a:extLst>
          </p:cNvPr>
          <p:cNvCxnSpPr>
            <a:cxnSpLocks/>
          </p:cNvCxnSpPr>
          <p:nvPr/>
        </p:nvCxnSpPr>
        <p:spPr bwMode="auto">
          <a:xfrm>
            <a:off x="516468" y="1712913"/>
            <a:ext cx="11114617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1">
            <a:extLst>
              <a:ext uri="{FF2B5EF4-FFF2-40B4-BE49-F238E27FC236}">
                <a16:creationId xmlns:a16="http://schemas.microsoft.com/office/drawing/2014/main" id="{4EAC7A66-4865-435D-835A-3DF07E10C95A}"/>
              </a:ext>
            </a:extLst>
          </p:cNvPr>
          <p:cNvCxnSpPr>
            <a:cxnSpLocks/>
          </p:cNvCxnSpPr>
          <p:nvPr/>
        </p:nvCxnSpPr>
        <p:spPr bwMode="auto">
          <a:xfrm>
            <a:off x="529167" y="3284538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23">
            <a:extLst>
              <a:ext uri="{FF2B5EF4-FFF2-40B4-BE49-F238E27FC236}">
                <a16:creationId xmlns:a16="http://schemas.microsoft.com/office/drawing/2014/main" id="{C22D2F6B-5171-4866-AE1A-82DD8E288D5B}"/>
              </a:ext>
            </a:extLst>
          </p:cNvPr>
          <p:cNvCxnSpPr>
            <a:cxnSpLocks/>
          </p:cNvCxnSpPr>
          <p:nvPr/>
        </p:nvCxnSpPr>
        <p:spPr bwMode="auto">
          <a:xfrm>
            <a:off x="529167" y="4819650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NavigationTriangle">
            <a:extLst>
              <a:ext uri="{FF2B5EF4-FFF2-40B4-BE49-F238E27FC236}">
                <a16:creationId xmlns:a16="http://schemas.microsoft.com/office/drawing/2014/main" id="{7F548BEA-4075-4AA9-A065-4FE6582C4552}"/>
              </a:ext>
            </a:extLst>
          </p:cNvPr>
          <p:cNvSpPr/>
          <p:nvPr/>
        </p:nvSpPr>
        <p:spPr>
          <a:xfrm rot="16200000">
            <a:off x="11112500" y="82551"/>
            <a:ext cx="1162050" cy="99694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lnSpc>
                <a:spcPct val="90000"/>
              </a:lnSpc>
              <a:spcAft>
                <a:spcPts val="750"/>
              </a:spcAft>
              <a:defRPr/>
            </a:pPr>
            <a:endParaRPr lang="en-GB" sz="750" dirty="0">
              <a:solidFill>
                <a:schemeClr val="bg1">
                  <a:lumMod val="100000"/>
                </a:schemeClr>
              </a:solidFill>
            </a:endParaRPr>
          </a:p>
        </p:txBody>
      </p:sp>
      <p:sp>
        <p:nvSpPr>
          <p:cNvPr id="21" name="NavigationIcon">
            <a:extLst>
              <a:ext uri="{FF2B5EF4-FFF2-40B4-BE49-F238E27FC236}">
                <a16:creationId xmlns:a16="http://schemas.microsoft.com/office/drawing/2014/main" id="{F12DE1C0-3961-466A-8A6D-A5C47138FBD2}"/>
              </a:ext>
            </a:extLst>
          </p:cNvPr>
          <p:cNvSpPr>
            <a:spLocks noChangeAspect="1"/>
          </p:cNvSpPr>
          <p:nvPr/>
        </p:nvSpPr>
        <p:spPr bwMode="auto">
          <a:xfrm>
            <a:off x="11741151" y="133351"/>
            <a:ext cx="264583" cy="365125"/>
          </a:xfrm>
          <a:custGeom>
            <a:avLst/>
            <a:gdLst>
              <a:gd name="T0" fmla="*/ 11829 w 809026"/>
              <a:gd name="T1" fmla="*/ 230982 h 1120775"/>
              <a:gd name="T2" fmla="*/ 10601 w 809026"/>
              <a:gd name="T3" fmla="*/ 240820 h 1120775"/>
              <a:gd name="T4" fmla="*/ 61645 w 809026"/>
              <a:gd name="T5" fmla="*/ 267291 h 1120775"/>
              <a:gd name="T6" fmla="*/ 62873 w 809026"/>
              <a:gd name="T7" fmla="*/ 257452 h 1120775"/>
              <a:gd name="T8" fmla="*/ 8848 w 809026"/>
              <a:gd name="T9" fmla="*/ 218265 h 1120775"/>
              <a:gd name="T10" fmla="*/ 71029 w 809026"/>
              <a:gd name="T11" fmla="*/ 251807 h 1120775"/>
              <a:gd name="T12" fmla="*/ 66468 w 809026"/>
              <a:gd name="T13" fmla="*/ 278921 h 1120775"/>
              <a:gd name="T14" fmla="*/ 2270 w 809026"/>
              <a:gd name="T15" fmla="*/ 248301 h 1120775"/>
              <a:gd name="T16" fmla="*/ 6831 w 809026"/>
              <a:gd name="T17" fmla="*/ 220953 h 1120775"/>
              <a:gd name="T18" fmla="*/ 145114 w 809026"/>
              <a:gd name="T19" fmla="*/ 166530 h 1120775"/>
              <a:gd name="T20" fmla="*/ 141093 w 809026"/>
              <a:gd name="T21" fmla="*/ 330941 h 1120775"/>
              <a:gd name="T22" fmla="*/ 194591 w 809026"/>
              <a:gd name="T23" fmla="*/ 330941 h 1120775"/>
              <a:gd name="T24" fmla="*/ 198437 w 809026"/>
              <a:gd name="T25" fmla="*/ 360009 h 1120775"/>
              <a:gd name="T26" fmla="*/ 10319 w 809026"/>
              <a:gd name="T27" fmla="*/ 365125 h 1120775"/>
              <a:gd name="T28" fmla="*/ 6472 w 809026"/>
              <a:gd name="T29" fmla="*/ 336057 h 1120775"/>
              <a:gd name="T30" fmla="*/ 20983 w 809026"/>
              <a:gd name="T31" fmla="*/ 330941 h 1120775"/>
              <a:gd name="T32" fmla="*/ 93189 w 809026"/>
              <a:gd name="T33" fmla="*/ 330941 h 1120775"/>
              <a:gd name="T34" fmla="*/ 143715 w 809026"/>
              <a:gd name="T35" fmla="*/ 245829 h 1120775"/>
              <a:gd name="T36" fmla="*/ 145114 w 809026"/>
              <a:gd name="T37" fmla="*/ 166530 h 1120775"/>
              <a:gd name="T38" fmla="*/ 123676 w 809026"/>
              <a:gd name="T39" fmla="*/ 151791 h 1120775"/>
              <a:gd name="T40" fmla="*/ 94083 w 809026"/>
              <a:gd name="T41" fmla="*/ 151791 h 1120775"/>
              <a:gd name="T42" fmla="*/ 108879 w 809026"/>
              <a:gd name="T43" fmla="*/ 122053 h 1120775"/>
              <a:gd name="T44" fmla="*/ 108879 w 809026"/>
              <a:gd name="T45" fmla="*/ 182045 h 1120775"/>
              <a:gd name="T46" fmla="*/ 108879 w 809026"/>
              <a:gd name="T47" fmla="*/ 122053 h 1120775"/>
              <a:gd name="T48" fmla="*/ 139251 w 809026"/>
              <a:gd name="T49" fmla="*/ 151791 h 1120775"/>
              <a:gd name="T50" fmla="*/ 78508 w 809026"/>
              <a:gd name="T51" fmla="*/ 151791 h 1120775"/>
              <a:gd name="T52" fmla="*/ 106703 w 809026"/>
              <a:gd name="T53" fmla="*/ 0 h 1120775"/>
              <a:gd name="T54" fmla="*/ 119667 w 809026"/>
              <a:gd name="T55" fmla="*/ 21879 h 1120775"/>
              <a:gd name="T56" fmla="*/ 105302 w 809026"/>
              <a:gd name="T57" fmla="*/ 101481 h 1120775"/>
              <a:gd name="T58" fmla="*/ 79199 w 809026"/>
              <a:gd name="T59" fmla="*/ 183411 h 1120775"/>
              <a:gd name="T60" fmla="*/ 60454 w 809026"/>
              <a:gd name="T61" fmla="*/ 228798 h 1120775"/>
              <a:gd name="T62" fmla="*/ 55023 w 809026"/>
              <a:gd name="T63" fmla="*/ 226703 h 1120775"/>
              <a:gd name="T64" fmla="*/ 38731 w 809026"/>
              <a:gd name="T65" fmla="*/ 223212 h 1120775"/>
              <a:gd name="T66" fmla="*/ 36979 w 809026"/>
              <a:gd name="T67" fmla="*/ 215531 h 1120775"/>
              <a:gd name="T68" fmla="*/ 30322 w 809026"/>
              <a:gd name="T69" fmla="*/ 206220 h 1120775"/>
              <a:gd name="T70" fmla="*/ 102849 w 809026"/>
              <a:gd name="T71" fmla="*/ 12569 h 112077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809026" h="1120775">
                <a:moveTo>
                  <a:pt x="57524" y="705419"/>
                </a:moveTo>
                <a:cubicBezTo>
                  <a:pt x="53948" y="703262"/>
                  <a:pt x="49658" y="705419"/>
                  <a:pt x="48227" y="709015"/>
                </a:cubicBezTo>
                <a:cubicBezTo>
                  <a:pt x="48227" y="709015"/>
                  <a:pt x="48227" y="709015"/>
                  <a:pt x="39646" y="729867"/>
                </a:cubicBezTo>
                <a:cubicBezTo>
                  <a:pt x="37500" y="733462"/>
                  <a:pt x="39646" y="737057"/>
                  <a:pt x="43221" y="739214"/>
                </a:cubicBezTo>
                <a:cubicBezTo>
                  <a:pt x="43221" y="739214"/>
                  <a:pt x="43221" y="739214"/>
                  <a:pt x="242030" y="824062"/>
                </a:cubicBezTo>
                <a:cubicBezTo>
                  <a:pt x="245605" y="825500"/>
                  <a:pt x="249896" y="824062"/>
                  <a:pt x="251326" y="820467"/>
                </a:cubicBezTo>
                <a:cubicBezTo>
                  <a:pt x="251326" y="820467"/>
                  <a:pt x="251326" y="820467"/>
                  <a:pt x="259908" y="799614"/>
                </a:cubicBezTo>
                <a:cubicBezTo>
                  <a:pt x="261338" y="796019"/>
                  <a:pt x="259908" y="791705"/>
                  <a:pt x="256332" y="790267"/>
                </a:cubicBezTo>
                <a:cubicBezTo>
                  <a:pt x="256332" y="790267"/>
                  <a:pt x="256332" y="790267"/>
                  <a:pt x="57524" y="705419"/>
                </a:cubicBezTo>
                <a:close/>
                <a:moveTo>
                  <a:pt x="36073" y="669979"/>
                </a:moveTo>
                <a:cubicBezTo>
                  <a:pt x="39827" y="668544"/>
                  <a:pt x="44297" y="668544"/>
                  <a:pt x="48587" y="670338"/>
                </a:cubicBezTo>
                <a:cubicBezTo>
                  <a:pt x="48587" y="670338"/>
                  <a:pt x="48587" y="670338"/>
                  <a:pt x="289584" y="772938"/>
                </a:cubicBezTo>
                <a:cubicBezTo>
                  <a:pt x="297451" y="775808"/>
                  <a:pt x="301026" y="785135"/>
                  <a:pt x="297451" y="793745"/>
                </a:cubicBezTo>
                <a:cubicBezTo>
                  <a:pt x="297451" y="793745"/>
                  <a:pt x="297451" y="793745"/>
                  <a:pt x="270991" y="856166"/>
                </a:cubicBezTo>
                <a:cubicBezTo>
                  <a:pt x="267415" y="864058"/>
                  <a:pt x="258119" y="868363"/>
                  <a:pt x="250252" y="864776"/>
                </a:cubicBezTo>
                <a:cubicBezTo>
                  <a:pt x="250252" y="864776"/>
                  <a:pt x="250252" y="864776"/>
                  <a:pt x="9255" y="762175"/>
                </a:cubicBezTo>
                <a:cubicBezTo>
                  <a:pt x="1389" y="758588"/>
                  <a:pt x="-2187" y="749261"/>
                  <a:pt x="1389" y="741368"/>
                </a:cubicBezTo>
                <a:cubicBezTo>
                  <a:pt x="1389" y="741368"/>
                  <a:pt x="1389" y="741368"/>
                  <a:pt x="27848" y="678230"/>
                </a:cubicBezTo>
                <a:cubicBezTo>
                  <a:pt x="29279" y="674284"/>
                  <a:pt x="32318" y="671414"/>
                  <a:pt x="36073" y="669979"/>
                </a:cubicBezTo>
                <a:close/>
                <a:moveTo>
                  <a:pt x="591627" y="511175"/>
                </a:moveTo>
                <a:cubicBezTo>
                  <a:pt x="649362" y="576133"/>
                  <a:pt x="683576" y="661077"/>
                  <a:pt x="683576" y="754587"/>
                </a:cubicBezTo>
                <a:cubicBezTo>
                  <a:pt x="683576" y="856663"/>
                  <a:pt x="642947" y="949459"/>
                  <a:pt x="575233" y="1015844"/>
                </a:cubicBezTo>
                <a:cubicBezTo>
                  <a:pt x="591627" y="1015844"/>
                  <a:pt x="591627" y="1015844"/>
                  <a:pt x="591627" y="1015844"/>
                </a:cubicBezTo>
                <a:cubicBezTo>
                  <a:pt x="793345" y="1015844"/>
                  <a:pt x="793345" y="1015844"/>
                  <a:pt x="793345" y="1015844"/>
                </a:cubicBezTo>
                <a:cubicBezTo>
                  <a:pt x="801898" y="1015844"/>
                  <a:pt x="809026" y="1022982"/>
                  <a:pt x="809026" y="1031548"/>
                </a:cubicBezTo>
                <a:cubicBezTo>
                  <a:pt x="809026" y="1105071"/>
                  <a:pt x="809026" y="1105071"/>
                  <a:pt x="809026" y="1105071"/>
                </a:cubicBezTo>
                <a:cubicBezTo>
                  <a:pt x="809026" y="1113637"/>
                  <a:pt x="801898" y="1120775"/>
                  <a:pt x="793345" y="1120775"/>
                </a:cubicBezTo>
                <a:cubicBezTo>
                  <a:pt x="42069" y="1120775"/>
                  <a:pt x="42069" y="1120775"/>
                  <a:pt x="42069" y="1120775"/>
                </a:cubicBezTo>
                <a:cubicBezTo>
                  <a:pt x="33516" y="1120775"/>
                  <a:pt x="26388" y="1113637"/>
                  <a:pt x="26388" y="1105071"/>
                </a:cubicBezTo>
                <a:cubicBezTo>
                  <a:pt x="26388" y="1031548"/>
                  <a:pt x="26388" y="1031548"/>
                  <a:pt x="26388" y="1031548"/>
                </a:cubicBezTo>
                <a:cubicBezTo>
                  <a:pt x="26388" y="1022982"/>
                  <a:pt x="33516" y="1015844"/>
                  <a:pt x="42069" y="1015844"/>
                </a:cubicBezTo>
                <a:cubicBezTo>
                  <a:pt x="85549" y="1015844"/>
                  <a:pt x="85549" y="1015844"/>
                  <a:pt x="85549" y="1015844"/>
                </a:cubicBezTo>
                <a:cubicBezTo>
                  <a:pt x="296533" y="1015844"/>
                  <a:pt x="296533" y="1015844"/>
                  <a:pt x="296533" y="1015844"/>
                </a:cubicBezTo>
                <a:cubicBezTo>
                  <a:pt x="379929" y="1015844"/>
                  <a:pt x="379929" y="1015844"/>
                  <a:pt x="379929" y="1015844"/>
                </a:cubicBezTo>
                <a:cubicBezTo>
                  <a:pt x="382780" y="1015844"/>
                  <a:pt x="382780" y="1015844"/>
                  <a:pt x="382780" y="1015844"/>
                </a:cubicBezTo>
                <a:cubicBezTo>
                  <a:pt x="499678" y="986577"/>
                  <a:pt x="585924" y="880933"/>
                  <a:pt x="585924" y="754587"/>
                </a:cubicBezTo>
                <a:cubicBezTo>
                  <a:pt x="585924" y="693912"/>
                  <a:pt x="565967" y="638235"/>
                  <a:pt x="531753" y="593264"/>
                </a:cubicBezTo>
                <a:cubicBezTo>
                  <a:pt x="560264" y="573991"/>
                  <a:pt x="581648" y="544725"/>
                  <a:pt x="591627" y="511175"/>
                </a:cubicBezTo>
                <a:close/>
                <a:moveTo>
                  <a:pt x="443900" y="404812"/>
                </a:moveTo>
                <a:cubicBezTo>
                  <a:pt x="477217" y="404812"/>
                  <a:pt x="504225" y="432176"/>
                  <a:pt x="504225" y="465931"/>
                </a:cubicBezTo>
                <a:cubicBezTo>
                  <a:pt x="504225" y="499686"/>
                  <a:pt x="477217" y="527050"/>
                  <a:pt x="443900" y="527050"/>
                </a:cubicBezTo>
                <a:cubicBezTo>
                  <a:pt x="410583" y="527050"/>
                  <a:pt x="383575" y="499686"/>
                  <a:pt x="383575" y="465931"/>
                </a:cubicBezTo>
                <a:cubicBezTo>
                  <a:pt x="383575" y="432176"/>
                  <a:pt x="410583" y="404812"/>
                  <a:pt x="443900" y="404812"/>
                </a:cubicBezTo>
                <a:close/>
                <a:moveTo>
                  <a:pt x="443900" y="374649"/>
                </a:moveTo>
                <a:cubicBezTo>
                  <a:pt x="393048" y="374649"/>
                  <a:pt x="351825" y="415872"/>
                  <a:pt x="351825" y="466724"/>
                </a:cubicBezTo>
                <a:cubicBezTo>
                  <a:pt x="351825" y="517576"/>
                  <a:pt x="393048" y="558799"/>
                  <a:pt x="443900" y="558799"/>
                </a:cubicBezTo>
                <a:cubicBezTo>
                  <a:pt x="494752" y="558799"/>
                  <a:pt x="535975" y="517576"/>
                  <a:pt x="535975" y="466724"/>
                </a:cubicBezTo>
                <a:cubicBezTo>
                  <a:pt x="535975" y="415872"/>
                  <a:pt x="494752" y="374649"/>
                  <a:pt x="443900" y="374649"/>
                </a:cubicBezTo>
                <a:close/>
                <a:moveTo>
                  <a:pt x="443900" y="342899"/>
                </a:moveTo>
                <a:cubicBezTo>
                  <a:pt x="512287" y="342899"/>
                  <a:pt x="567725" y="397982"/>
                  <a:pt x="567725" y="465931"/>
                </a:cubicBezTo>
                <a:cubicBezTo>
                  <a:pt x="567725" y="533880"/>
                  <a:pt x="512287" y="588963"/>
                  <a:pt x="443900" y="588963"/>
                </a:cubicBezTo>
                <a:cubicBezTo>
                  <a:pt x="375513" y="588963"/>
                  <a:pt x="320075" y="533880"/>
                  <a:pt x="320075" y="465931"/>
                </a:cubicBezTo>
                <a:cubicBezTo>
                  <a:pt x="320075" y="397982"/>
                  <a:pt x="375513" y="342899"/>
                  <a:pt x="443900" y="342899"/>
                </a:cubicBezTo>
                <a:close/>
                <a:moveTo>
                  <a:pt x="435028" y="0"/>
                </a:moveTo>
                <a:cubicBezTo>
                  <a:pt x="435028" y="0"/>
                  <a:pt x="435028" y="0"/>
                  <a:pt x="503595" y="29293"/>
                </a:cubicBezTo>
                <a:cubicBezTo>
                  <a:pt x="503595" y="29293"/>
                  <a:pt x="503595" y="29293"/>
                  <a:pt x="487882" y="67159"/>
                </a:cubicBezTo>
                <a:cubicBezTo>
                  <a:pt x="487882" y="67159"/>
                  <a:pt x="487882" y="67159"/>
                  <a:pt x="526450" y="84306"/>
                </a:cubicBezTo>
                <a:cubicBezTo>
                  <a:pt x="526450" y="84306"/>
                  <a:pt x="526450" y="84306"/>
                  <a:pt x="429314" y="311502"/>
                </a:cubicBezTo>
                <a:cubicBezTo>
                  <a:pt x="350748" y="318647"/>
                  <a:pt x="288609" y="385091"/>
                  <a:pt x="288609" y="466539"/>
                </a:cubicBezTo>
                <a:cubicBezTo>
                  <a:pt x="288609" y="502977"/>
                  <a:pt x="301466" y="536556"/>
                  <a:pt x="322893" y="562991"/>
                </a:cubicBezTo>
                <a:cubicBezTo>
                  <a:pt x="322893" y="562991"/>
                  <a:pt x="322893" y="562991"/>
                  <a:pt x="267182" y="694451"/>
                </a:cubicBezTo>
                <a:cubicBezTo>
                  <a:pt x="263611" y="702310"/>
                  <a:pt x="254326" y="705882"/>
                  <a:pt x="246469" y="702310"/>
                </a:cubicBezTo>
                <a:cubicBezTo>
                  <a:pt x="246469" y="702310"/>
                  <a:pt x="246469" y="702310"/>
                  <a:pt x="225042" y="693736"/>
                </a:cubicBezTo>
                <a:cubicBezTo>
                  <a:pt x="225042" y="693736"/>
                  <a:pt x="225042" y="693736"/>
                  <a:pt x="224328" y="695879"/>
                </a:cubicBezTo>
                <a:cubicBezTo>
                  <a:pt x="220757" y="703738"/>
                  <a:pt x="211472" y="708025"/>
                  <a:pt x="203615" y="704453"/>
                </a:cubicBezTo>
                <a:cubicBezTo>
                  <a:pt x="203615" y="704453"/>
                  <a:pt x="203615" y="704453"/>
                  <a:pt x="157904" y="685163"/>
                </a:cubicBezTo>
                <a:cubicBezTo>
                  <a:pt x="150048" y="681590"/>
                  <a:pt x="146476" y="672302"/>
                  <a:pt x="149333" y="664443"/>
                </a:cubicBezTo>
                <a:cubicBezTo>
                  <a:pt x="149333" y="664443"/>
                  <a:pt x="149333" y="664443"/>
                  <a:pt x="150762" y="661586"/>
                </a:cubicBezTo>
                <a:cubicBezTo>
                  <a:pt x="150762" y="661586"/>
                  <a:pt x="150762" y="661586"/>
                  <a:pt x="132192" y="653727"/>
                </a:cubicBezTo>
                <a:cubicBezTo>
                  <a:pt x="123621" y="650869"/>
                  <a:pt x="120050" y="641581"/>
                  <a:pt x="123621" y="633007"/>
                </a:cubicBezTo>
                <a:cubicBezTo>
                  <a:pt x="123621" y="633007"/>
                  <a:pt x="123621" y="633007"/>
                  <a:pt x="382888" y="22862"/>
                </a:cubicBezTo>
                <a:cubicBezTo>
                  <a:pt x="382888" y="22862"/>
                  <a:pt x="382888" y="22862"/>
                  <a:pt x="419315" y="38580"/>
                </a:cubicBezTo>
                <a:cubicBezTo>
                  <a:pt x="419315" y="38580"/>
                  <a:pt x="419315" y="38580"/>
                  <a:pt x="435028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cs-CZ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773" y="355603"/>
            <a:ext cx="10158696" cy="558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l-PL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22"/>
          </p:nvPr>
        </p:nvSpPr>
        <p:spPr>
          <a:xfrm>
            <a:off x="529429" y="1378783"/>
            <a:ext cx="2642139" cy="391559"/>
          </a:xfrm>
          <a:noFill/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3"/>
          </p:nvPr>
        </p:nvSpPr>
        <p:spPr>
          <a:xfrm>
            <a:off x="4079875" y="1378783"/>
            <a:ext cx="4845016" cy="391559"/>
          </a:xfrm>
          <a:noFill/>
        </p:spPr>
        <p:txBody>
          <a:bodyPr/>
          <a:lstStyle>
            <a:lvl1pPr marL="0" indent="0" algn="l">
              <a:lnSpc>
                <a:spcPct val="15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7"/>
          </p:nvPr>
        </p:nvSpPr>
        <p:spPr>
          <a:xfrm>
            <a:off x="529430" y="1865997"/>
            <a:ext cx="2524013" cy="141904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4"/>
          </p:nvPr>
        </p:nvSpPr>
        <p:spPr>
          <a:xfrm>
            <a:off x="529433" y="3292323"/>
            <a:ext cx="2524012" cy="1525767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5"/>
          </p:nvPr>
        </p:nvSpPr>
        <p:spPr>
          <a:xfrm>
            <a:off x="529429" y="4818091"/>
            <a:ext cx="2524011" cy="1347759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/>
          </p:nvPr>
        </p:nvSpPr>
        <p:spPr>
          <a:xfrm>
            <a:off x="4088177" y="1865998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9"/>
          </p:nvPr>
        </p:nvSpPr>
        <p:spPr>
          <a:xfrm>
            <a:off x="4088178" y="2318627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30"/>
          </p:nvPr>
        </p:nvSpPr>
        <p:spPr>
          <a:xfrm>
            <a:off x="4088176" y="2771255"/>
            <a:ext cx="7557080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1"/>
          </p:nvPr>
        </p:nvSpPr>
        <p:spPr>
          <a:xfrm>
            <a:off x="4088178" y="3472376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32"/>
          </p:nvPr>
        </p:nvSpPr>
        <p:spPr>
          <a:xfrm>
            <a:off x="4088176" y="3794931"/>
            <a:ext cx="7557080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33"/>
          </p:nvPr>
        </p:nvSpPr>
        <p:spPr>
          <a:xfrm>
            <a:off x="4088178" y="4247560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7" name="Text Placeholder 2"/>
          <p:cNvSpPr>
            <a:spLocks noGrp="1"/>
          </p:cNvSpPr>
          <p:nvPr>
            <p:ph type="body" idx="34"/>
          </p:nvPr>
        </p:nvSpPr>
        <p:spPr>
          <a:xfrm>
            <a:off x="4088178" y="4900471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idx="35"/>
          </p:nvPr>
        </p:nvSpPr>
        <p:spPr>
          <a:xfrm>
            <a:off x="4088178" y="5353099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9" name="Text Placeholder 2"/>
          <p:cNvSpPr>
            <a:spLocks noGrp="1"/>
          </p:cNvSpPr>
          <p:nvPr>
            <p:ph type="body" idx="36"/>
          </p:nvPr>
        </p:nvSpPr>
        <p:spPr>
          <a:xfrm>
            <a:off x="4088178" y="5805728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8002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97D1C7-7A32-43E3-AD4E-5DB63E1D1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44C691-AB47-4970-AFE3-CA806B063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FFBC4C-B74B-4098-A4DF-13814420F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FF730CC-D5C0-4C82-83A7-D718A0C7474F}" type="slidenum">
              <a:rPr lang="cs-CZ" altLang="en-US"/>
              <a:pPr/>
              <a:t>‹#›</a:t>
            </a:fld>
            <a:endParaRPr lang="cs-CZ" altLang="en-US"/>
          </a:p>
        </p:txBody>
      </p:sp>
    </p:spTree>
    <p:extLst>
      <p:ext uri="{BB962C8B-B14F-4D97-AF65-F5344CB8AC3E}">
        <p14:creationId xmlns:p14="http://schemas.microsoft.com/office/powerpoint/2010/main" val="19368469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flective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>
            <a:extLst>
              <a:ext uri="{FF2B5EF4-FFF2-40B4-BE49-F238E27FC236}">
                <a16:creationId xmlns:a16="http://schemas.microsoft.com/office/drawing/2014/main" id="{7946BFEA-A746-4E42-816C-474807135B60}"/>
              </a:ext>
            </a:extLst>
          </p:cNvPr>
          <p:cNvSpPr/>
          <p:nvPr/>
        </p:nvSpPr>
        <p:spPr>
          <a:xfrm>
            <a:off x="0" y="1"/>
            <a:ext cx="12192000" cy="27622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lIns="68580" tIns="34290" rIns="68580" bIns="34290">
            <a:spAutoFit/>
          </a:bodyPr>
          <a:lstStyle/>
          <a:p>
            <a:pPr defTabSz="685800">
              <a:spcBef>
                <a:spcPct val="50000"/>
              </a:spcBef>
              <a:defRPr/>
            </a:pPr>
            <a:endParaRPr lang="en-US" sz="1350">
              <a:latin typeface="Imago" pitchFamily="2" charset="0"/>
            </a:endParaRPr>
          </a:p>
        </p:txBody>
      </p:sp>
      <p:pic>
        <p:nvPicPr>
          <p:cNvPr id="4" name="Picture 14" descr="A person standing in a room&#10;&#10;Description automatically generated">
            <a:extLst>
              <a:ext uri="{FF2B5EF4-FFF2-40B4-BE49-F238E27FC236}">
                <a16:creationId xmlns:a16="http://schemas.microsoft.com/office/drawing/2014/main" id="{2D41BE22-43F5-431D-A44C-69F4FA5B2E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8834" y="0"/>
            <a:ext cx="840316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4D5EE368-EF8E-4B73-A0DA-B0E74C8B16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CA47DDDB-9244-44CC-AFD3-CDA9A48755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7">
            <a:extLst>
              <a:ext uri="{FF2B5EF4-FFF2-40B4-BE49-F238E27FC236}">
                <a16:creationId xmlns:a16="http://schemas.microsoft.com/office/drawing/2014/main" id="{7395874D-D58C-40D4-B0A0-A873C366C9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867" y="461963"/>
            <a:ext cx="5554133" cy="419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en-US" altLang="cs-CZ" sz="1800" i="1">
                <a:latin typeface="Minion"/>
              </a:rPr>
              <a:t>Medical Affairs PHC and Patient Access</a:t>
            </a:r>
          </a:p>
        </p:txBody>
      </p:sp>
      <p:sp>
        <p:nvSpPr>
          <p:cNvPr id="8" name="shpPlaceholderMain">
            <a:extLst>
              <a:ext uri="{FF2B5EF4-FFF2-40B4-BE49-F238E27FC236}">
                <a16:creationId xmlns:a16="http://schemas.microsoft.com/office/drawing/2014/main" id="{B14C541E-0140-4D8D-9C68-36C228E251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00134" y="6440489"/>
            <a:ext cx="1591733" cy="128587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marL="0" indent="0" algn="l" rtl="0" eaLnBrk="0" fontAlgn="base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Pct val="100000"/>
              <a:buFontTx/>
              <a:buNone/>
              <a:tabLst/>
              <a:defRPr sz="3200" b="1" i="1">
                <a:solidFill>
                  <a:schemeClr val="tx1"/>
                </a:solidFill>
                <a:latin typeface="Minion" pitchFamily="2" charset="0"/>
                <a:ea typeface="+mn-ea"/>
                <a:cs typeface="+mn-cs"/>
              </a:defRPr>
            </a:lvl1pPr>
            <a:lvl2pPr marL="712788" indent="-398463" algn="l" rtl="0" eaLnBrk="0" fontAlgn="base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bg1"/>
              </a:buClr>
              <a:buFont typeface="System Font Regular"/>
              <a:buChar char="—"/>
              <a:tabLst/>
              <a:defRPr sz="2000">
                <a:solidFill>
                  <a:schemeClr val="bg2"/>
                </a:solidFill>
                <a:latin typeface="+mn-lt"/>
              </a:defRPr>
            </a:lvl2pPr>
            <a:lvl3pPr marL="1076325" indent="-363538" algn="l" rtl="0" eaLnBrk="0" fontAlgn="base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bg1"/>
              </a:buClr>
              <a:buFont typeface="System Font Regular"/>
              <a:buChar char="—"/>
              <a:tabLst/>
              <a:defRPr sz="1800">
                <a:solidFill>
                  <a:schemeClr val="bg2"/>
                </a:solidFill>
                <a:latin typeface="+mn-lt"/>
              </a:defRPr>
            </a:lvl3pPr>
            <a:lvl4pPr marL="1427163" indent="-350838" algn="l" rtl="0" eaLnBrk="0" fontAlgn="base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bg1"/>
              </a:buClr>
              <a:buFont typeface="System Font Regular"/>
              <a:buChar char="—"/>
              <a:tabLst/>
              <a:defRPr sz="1800">
                <a:solidFill>
                  <a:schemeClr val="bg2"/>
                </a:solidFill>
                <a:latin typeface="+mn-lt"/>
              </a:defRPr>
            </a:lvl4pPr>
            <a:lvl5pPr marL="1733550" indent="-306388" algn="l" rtl="0" eaLnBrk="0" fontAlgn="base" hangingPunc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bg1"/>
              </a:buClr>
              <a:buFont typeface="System Font Regular"/>
              <a:buChar char="—"/>
              <a:tabLst/>
              <a:defRPr sz="1800">
                <a:solidFill>
                  <a:schemeClr val="bg2"/>
                </a:solidFill>
                <a:latin typeface="+mn-lt"/>
              </a:defRPr>
            </a:lvl5pPr>
            <a:lvl6pPr marL="26527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31099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5671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40243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CA" sz="600" b="0" i="0" dirty="0">
                <a:latin typeface="+mn-lt"/>
              </a:rPr>
              <a:t>DRAFT - FOR DISCUSSION ONLY</a:t>
            </a:r>
          </a:p>
        </p:txBody>
      </p:sp>
      <p:pic>
        <p:nvPicPr>
          <p:cNvPr id="9" name="Graphic 12">
            <a:extLst>
              <a:ext uri="{FF2B5EF4-FFF2-40B4-BE49-F238E27FC236}">
                <a16:creationId xmlns:a16="http://schemas.microsoft.com/office/drawing/2014/main" id="{0829DA2E-2338-4953-8DAF-04FFE54CE5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700" y="5919788"/>
            <a:ext cx="924984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hpPlaceholderTitle"/>
          <p:cNvSpPr>
            <a:spLocks noGrp="1" noChangeArrowheads="1"/>
          </p:cNvSpPr>
          <p:nvPr>
            <p:ph type="ctrTitle"/>
          </p:nvPr>
        </p:nvSpPr>
        <p:spPr>
          <a:xfrm>
            <a:off x="515939" y="2109202"/>
            <a:ext cx="7596187" cy="3811281"/>
          </a:xfrm>
        </p:spPr>
        <p:txBody>
          <a:bodyPr/>
          <a:lstStyle>
            <a:lvl1pPr algn="l">
              <a:defRPr sz="33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Kliknutím lze upravit styl.</a:t>
            </a:r>
            <a:endParaRPr lang="fr-CH" noProof="0" dirty="0"/>
          </a:p>
        </p:txBody>
      </p:sp>
    </p:spTree>
    <p:extLst>
      <p:ext uri="{BB962C8B-B14F-4D97-AF65-F5344CB8AC3E}">
        <p14:creationId xmlns:p14="http://schemas.microsoft.com/office/powerpoint/2010/main" val="3389892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Colum Tabl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EEA4A307-4A84-4F8E-9A34-9BED99B0E474}"/>
              </a:ext>
            </a:extLst>
          </p:cNvPr>
          <p:cNvCxnSpPr>
            <a:cxnSpLocks/>
          </p:cNvCxnSpPr>
          <p:nvPr/>
        </p:nvCxnSpPr>
        <p:spPr bwMode="auto">
          <a:xfrm>
            <a:off x="529167" y="1860550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1">
            <a:extLst>
              <a:ext uri="{FF2B5EF4-FFF2-40B4-BE49-F238E27FC236}">
                <a16:creationId xmlns:a16="http://schemas.microsoft.com/office/drawing/2014/main" id="{799948A6-EAAC-4576-86DE-AA19FF1BE8D4}"/>
              </a:ext>
            </a:extLst>
          </p:cNvPr>
          <p:cNvCxnSpPr>
            <a:cxnSpLocks/>
          </p:cNvCxnSpPr>
          <p:nvPr/>
        </p:nvCxnSpPr>
        <p:spPr bwMode="auto">
          <a:xfrm>
            <a:off x="529167" y="3284538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23">
            <a:extLst>
              <a:ext uri="{FF2B5EF4-FFF2-40B4-BE49-F238E27FC236}">
                <a16:creationId xmlns:a16="http://schemas.microsoft.com/office/drawing/2014/main" id="{1517CA6A-F7F8-4CF8-9A91-6CAB0AF408C9}"/>
              </a:ext>
            </a:extLst>
          </p:cNvPr>
          <p:cNvCxnSpPr>
            <a:cxnSpLocks/>
          </p:cNvCxnSpPr>
          <p:nvPr/>
        </p:nvCxnSpPr>
        <p:spPr bwMode="auto">
          <a:xfrm>
            <a:off x="529167" y="4819650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NavigationTriangle">
            <a:extLst>
              <a:ext uri="{FF2B5EF4-FFF2-40B4-BE49-F238E27FC236}">
                <a16:creationId xmlns:a16="http://schemas.microsoft.com/office/drawing/2014/main" id="{10BD95D3-15E6-4D3C-ABDE-30002DB85097}"/>
              </a:ext>
            </a:extLst>
          </p:cNvPr>
          <p:cNvSpPr/>
          <p:nvPr/>
        </p:nvSpPr>
        <p:spPr>
          <a:xfrm rot="16200000">
            <a:off x="11112500" y="82551"/>
            <a:ext cx="1162050" cy="99694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lnSpc>
                <a:spcPct val="90000"/>
              </a:lnSpc>
              <a:spcAft>
                <a:spcPts val="750"/>
              </a:spcAft>
              <a:defRPr/>
            </a:pPr>
            <a:endParaRPr lang="en-GB" sz="750" dirty="0">
              <a:solidFill>
                <a:schemeClr val="bg1">
                  <a:lumMod val="100000"/>
                </a:schemeClr>
              </a:solidFill>
            </a:endParaRPr>
          </a:p>
        </p:txBody>
      </p:sp>
      <p:sp>
        <p:nvSpPr>
          <p:cNvPr id="21" name="NavigationIcon">
            <a:extLst>
              <a:ext uri="{FF2B5EF4-FFF2-40B4-BE49-F238E27FC236}">
                <a16:creationId xmlns:a16="http://schemas.microsoft.com/office/drawing/2014/main" id="{014A484B-2E02-4D94-AB67-4B21B56D9F9E}"/>
              </a:ext>
            </a:extLst>
          </p:cNvPr>
          <p:cNvSpPr>
            <a:spLocks noChangeAspect="1"/>
          </p:cNvSpPr>
          <p:nvPr/>
        </p:nvSpPr>
        <p:spPr bwMode="auto">
          <a:xfrm>
            <a:off x="11690351" y="133351"/>
            <a:ext cx="366183" cy="365125"/>
          </a:xfrm>
          <a:custGeom>
            <a:avLst/>
            <a:gdLst>
              <a:gd name="T0" fmla="*/ 7759 w 1123838"/>
              <a:gd name="T1" fmla="*/ 260352 h 1123951"/>
              <a:gd name="T2" fmla="*/ 102400 w 1123838"/>
              <a:gd name="T3" fmla="*/ 307943 h 1123951"/>
              <a:gd name="T4" fmla="*/ 256060 w 1123838"/>
              <a:gd name="T5" fmla="*/ 248745 h 1123951"/>
              <a:gd name="T6" fmla="*/ 253266 w 1123838"/>
              <a:gd name="T7" fmla="*/ 208119 h 1123951"/>
              <a:gd name="T8" fmla="*/ 196866 w 1123838"/>
              <a:gd name="T9" fmla="*/ 261049 h 1123951"/>
              <a:gd name="T10" fmla="*/ 132957 w 1123838"/>
              <a:gd name="T11" fmla="*/ 245031 h 1123951"/>
              <a:gd name="T12" fmla="*/ 185516 w 1123838"/>
              <a:gd name="T13" fmla="*/ 220191 h 1123951"/>
              <a:gd name="T14" fmla="*/ 95358 w 1123838"/>
              <a:gd name="T15" fmla="*/ 189267 h 1123951"/>
              <a:gd name="T16" fmla="*/ 97628 w 1123838"/>
              <a:gd name="T17" fmla="*/ 189267 h 1123951"/>
              <a:gd name="T18" fmla="*/ 174823 w 1123838"/>
              <a:gd name="T19" fmla="*/ 194371 h 1123951"/>
              <a:gd name="T20" fmla="*/ 192812 w 1123838"/>
              <a:gd name="T21" fmla="*/ 215019 h 1123951"/>
              <a:gd name="T22" fmla="*/ 192986 w 1123838"/>
              <a:gd name="T23" fmla="*/ 222211 h 1123951"/>
              <a:gd name="T24" fmla="*/ 186524 w 1123838"/>
              <a:gd name="T25" fmla="*/ 239379 h 1123951"/>
              <a:gd name="T26" fmla="*/ 184254 w 1123838"/>
              <a:gd name="T27" fmla="*/ 241700 h 1123951"/>
              <a:gd name="T28" fmla="*/ 181634 w 1123838"/>
              <a:gd name="T29" fmla="*/ 243555 h 1123951"/>
              <a:gd name="T30" fmla="*/ 175696 w 1123838"/>
              <a:gd name="T31" fmla="*/ 245644 h 1123951"/>
              <a:gd name="T32" fmla="*/ 189493 w 1123838"/>
              <a:gd name="T33" fmla="*/ 252836 h 1123951"/>
              <a:gd name="T34" fmla="*/ 194733 w 1123838"/>
              <a:gd name="T35" fmla="*/ 251212 h 1123951"/>
              <a:gd name="T36" fmla="*/ 226868 w 1123838"/>
              <a:gd name="T37" fmla="*/ 224531 h 1123951"/>
              <a:gd name="T38" fmla="*/ 239268 w 1123838"/>
              <a:gd name="T39" fmla="*/ 205971 h 1123951"/>
              <a:gd name="T40" fmla="*/ 253939 w 1123838"/>
              <a:gd name="T41" fmla="*/ 197851 h 1123951"/>
              <a:gd name="T42" fmla="*/ 264767 w 1123838"/>
              <a:gd name="T43" fmla="*/ 202027 h 1123951"/>
              <a:gd name="T44" fmla="*/ 266339 w 1123838"/>
              <a:gd name="T45" fmla="*/ 203419 h 1123951"/>
              <a:gd name="T46" fmla="*/ 267736 w 1123838"/>
              <a:gd name="T47" fmla="*/ 204811 h 1123951"/>
              <a:gd name="T48" fmla="*/ 261972 w 1123838"/>
              <a:gd name="T49" fmla="*/ 255388 h 1123951"/>
              <a:gd name="T50" fmla="*/ 231758 w 1123838"/>
              <a:gd name="T51" fmla="*/ 290652 h 1123951"/>
              <a:gd name="T52" fmla="*/ 192637 w 1123838"/>
              <a:gd name="T53" fmla="*/ 314085 h 1123951"/>
              <a:gd name="T54" fmla="*/ 187223 w 1123838"/>
              <a:gd name="T55" fmla="*/ 315940 h 1123951"/>
              <a:gd name="T56" fmla="*/ 177093 w 1123838"/>
              <a:gd name="T57" fmla="*/ 318956 h 1123951"/>
              <a:gd name="T58" fmla="*/ 173426 w 1123838"/>
              <a:gd name="T59" fmla="*/ 319653 h 1123951"/>
              <a:gd name="T60" fmla="*/ 155786 w 1123838"/>
              <a:gd name="T61" fmla="*/ 321972 h 1123951"/>
              <a:gd name="T62" fmla="*/ 151595 w 1123838"/>
              <a:gd name="T63" fmla="*/ 321972 h 1123951"/>
              <a:gd name="T64" fmla="*/ 146355 w 1123838"/>
              <a:gd name="T65" fmla="*/ 321972 h 1123951"/>
              <a:gd name="T66" fmla="*/ 141465 w 1123838"/>
              <a:gd name="T67" fmla="*/ 321740 h 1123951"/>
              <a:gd name="T68" fmla="*/ 118586 w 1123838"/>
              <a:gd name="T69" fmla="*/ 319653 h 1123951"/>
              <a:gd name="T70" fmla="*/ 99549 w 1123838"/>
              <a:gd name="T71" fmla="*/ 318028 h 1123951"/>
              <a:gd name="T72" fmla="*/ 95009 w 1123838"/>
              <a:gd name="T73" fmla="*/ 318956 h 1123951"/>
              <a:gd name="T74" fmla="*/ 92738 w 1123838"/>
              <a:gd name="T75" fmla="*/ 319885 h 1123951"/>
              <a:gd name="T76" fmla="*/ 1747 w 1123838"/>
              <a:gd name="T77" fmla="*/ 364197 h 1123951"/>
              <a:gd name="T78" fmla="*/ 1921 w 1123838"/>
              <a:gd name="T79" fmla="*/ 252836 h 1123951"/>
              <a:gd name="T80" fmla="*/ 77719 w 1123838"/>
              <a:gd name="T81" fmla="*/ 195763 h 1123951"/>
              <a:gd name="T82" fmla="*/ 79814 w 1123838"/>
              <a:gd name="T83" fmla="*/ 194371 h 1123951"/>
              <a:gd name="T84" fmla="*/ 82259 w 1123838"/>
              <a:gd name="T85" fmla="*/ 193211 h 1123951"/>
              <a:gd name="T86" fmla="*/ 83831 w 1123838"/>
              <a:gd name="T87" fmla="*/ 192283 h 1123951"/>
              <a:gd name="T88" fmla="*/ 93437 w 1123838"/>
              <a:gd name="T89" fmla="*/ 189499 h 1123951"/>
              <a:gd name="T90" fmla="*/ 95358 w 1123838"/>
              <a:gd name="T91" fmla="*/ 189267 h 1123951"/>
              <a:gd name="T92" fmla="*/ 191957 w 1123838"/>
              <a:gd name="T93" fmla="*/ 6036 h 1123951"/>
              <a:gd name="T94" fmla="*/ 246345 w 1123838"/>
              <a:gd name="T95" fmla="*/ 78007 h 1123951"/>
              <a:gd name="T96" fmla="*/ 191957 w 1123838"/>
              <a:gd name="T97" fmla="*/ 134423 h 1123951"/>
              <a:gd name="T98" fmla="*/ 175344 w 1123838"/>
              <a:gd name="T99" fmla="*/ 184338 h 1123951"/>
              <a:gd name="T100" fmla="*/ 144390 w 1123838"/>
              <a:gd name="T101" fmla="*/ 162747 h 1123951"/>
              <a:gd name="T102" fmla="*/ 90003 w 1123838"/>
              <a:gd name="T103" fmla="*/ 128851 h 1123951"/>
              <a:gd name="T104" fmla="*/ 144390 w 1123838"/>
              <a:gd name="T105" fmla="*/ 71971 h 112395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123838" h="1123951">
                <a:moveTo>
                  <a:pt x="409739" y="614204"/>
                </a:moveTo>
                <a:cubicBezTo>
                  <a:pt x="380443" y="612775"/>
                  <a:pt x="351147" y="619921"/>
                  <a:pt x="326138" y="634214"/>
                </a:cubicBezTo>
                <a:cubicBezTo>
                  <a:pt x="326138" y="634214"/>
                  <a:pt x="326138" y="634214"/>
                  <a:pt x="31750" y="801433"/>
                </a:cubicBezTo>
                <a:cubicBezTo>
                  <a:pt x="31750" y="801433"/>
                  <a:pt x="31750" y="801433"/>
                  <a:pt x="31750" y="1085850"/>
                </a:cubicBezTo>
                <a:cubicBezTo>
                  <a:pt x="31750" y="1085850"/>
                  <a:pt x="31750" y="1085850"/>
                  <a:pt x="368296" y="955790"/>
                </a:cubicBezTo>
                <a:cubicBezTo>
                  <a:pt x="384730" y="949359"/>
                  <a:pt x="401879" y="946500"/>
                  <a:pt x="419028" y="947929"/>
                </a:cubicBezTo>
                <a:cubicBezTo>
                  <a:pt x="419028" y="947929"/>
                  <a:pt x="419028" y="947929"/>
                  <a:pt x="568366" y="958649"/>
                </a:cubicBezTo>
                <a:cubicBezTo>
                  <a:pt x="645535" y="964366"/>
                  <a:pt x="722705" y="955076"/>
                  <a:pt x="797017" y="932208"/>
                </a:cubicBezTo>
                <a:cubicBezTo>
                  <a:pt x="894908" y="901480"/>
                  <a:pt x="981367" y="844310"/>
                  <a:pt x="1047818" y="765703"/>
                </a:cubicBezTo>
                <a:cubicBezTo>
                  <a:pt x="1047818" y="765703"/>
                  <a:pt x="1047818" y="765703"/>
                  <a:pt x="1079972" y="728543"/>
                </a:cubicBezTo>
                <a:cubicBezTo>
                  <a:pt x="1098550" y="706390"/>
                  <a:pt x="1096407" y="673517"/>
                  <a:pt x="1074971" y="654223"/>
                </a:cubicBezTo>
                <a:cubicBezTo>
                  <a:pt x="1064253" y="644933"/>
                  <a:pt x="1050676" y="639930"/>
                  <a:pt x="1036386" y="640645"/>
                </a:cubicBezTo>
                <a:cubicBezTo>
                  <a:pt x="1022095" y="641360"/>
                  <a:pt x="1008519" y="647791"/>
                  <a:pt x="999230" y="658510"/>
                </a:cubicBezTo>
                <a:cubicBezTo>
                  <a:pt x="999230" y="658510"/>
                  <a:pt x="999230" y="658510"/>
                  <a:pt x="951356" y="712107"/>
                </a:cubicBezTo>
                <a:cubicBezTo>
                  <a:pt x="912771" y="756413"/>
                  <a:pt x="862039" y="787856"/>
                  <a:pt x="805591" y="803577"/>
                </a:cubicBezTo>
                <a:cubicBezTo>
                  <a:pt x="740568" y="822157"/>
                  <a:pt x="670544" y="817870"/>
                  <a:pt x="608380" y="792858"/>
                </a:cubicBezTo>
                <a:cubicBezTo>
                  <a:pt x="608380" y="792858"/>
                  <a:pt x="608380" y="792858"/>
                  <a:pt x="553360" y="770705"/>
                </a:cubicBezTo>
                <a:cubicBezTo>
                  <a:pt x="546930" y="767847"/>
                  <a:pt x="542642" y="761415"/>
                  <a:pt x="544071" y="754269"/>
                </a:cubicBezTo>
                <a:cubicBezTo>
                  <a:pt x="544786" y="747123"/>
                  <a:pt x="550502" y="741406"/>
                  <a:pt x="557648" y="740691"/>
                </a:cubicBezTo>
                <a:cubicBezTo>
                  <a:pt x="557648" y="740691"/>
                  <a:pt x="557648" y="740691"/>
                  <a:pt x="715560" y="724970"/>
                </a:cubicBezTo>
                <a:cubicBezTo>
                  <a:pt x="740568" y="722826"/>
                  <a:pt x="759146" y="702102"/>
                  <a:pt x="759146" y="677805"/>
                </a:cubicBezTo>
                <a:cubicBezTo>
                  <a:pt x="759146" y="652079"/>
                  <a:pt x="739139" y="631355"/>
                  <a:pt x="713416" y="629926"/>
                </a:cubicBezTo>
                <a:cubicBezTo>
                  <a:pt x="713416" y="629926"/>
                  <a:pt x="713416" y="629926"/>
                  <a:pt x="409739" y="614204"/>
                </a:cubicBezTo>
                <a:close/>
                <a:moveTo>
                  <a:pt x="390213" y="582613"/>
                </a:moveTo>
                <a:cubicBezTo>
                  <a:pt x="391642" y="582613"/>
                  <a:pt x="392357" y="582613"/>
                  <a:pt x="393786" y="582613"/>
                </a:cubicBezTo>
                <a:cubicBezTo>
                  <a:pt x="394501" y="582613"/>
                  <a:pt x="395930" y="582613"/>
                  <a:pt x="396645" y="582613"/>
                </a:cubicBezTo>
                <a:cubicBezTo>
                  <a:pt x="398074" y="582613"/>
                  <a:pt x="398789" y="582613"/>
                  <a:pt x="399504" y="582613"/>
                </a:cubicBezTo>
                <a:cubicBezTo>
                  <a:pt x="400933" y="582613"/>
                  <a:pt x="401648" y="582613"/>
                  <a:pt x="403077" y="582613"/>
                </a:cubicBezTo>
                <a:cubicBezTo>
                  <a:pt x="405221" y="582613"/>
                  <a:pt x="408080" y="582613"/>
                  <a:pt x="410939" y="582613"/>
                </a:cubicBezTo>
                <a:cubicBezTo>
                  <a:pt x="410939" y="582613"/>
                  <a:pt x="410939" y="582613"/>
                  <a:pt x="715390" y="598325"/>
                </a:cubicBezTo>
                <a:cubicBezTo>
                  <a:pt x="743263" y="599753"/>
                  <a:pt x="766847" y="616179"/>
                  <a:pt x="780426" y="639032"/>
                </a:cubicBezTo>
                <a:cubicBezTo>
                  <a:pt x="781140" y="640461"/>
                  <a:pt x="781855" y="641889"/>
                  <a:pt x="782570" y="643317"/>
                </a:cubicBezTo>
                <a:cubicBezTo>
                  <a:pt x="785428" y="649031"/>
                  <a:pt x="787572" y="655458"/>
                  <a:pt x="789002" y="661886"/>
                </a:cubicBezTo>
                <a:cubicBezTo>
                  <a:pt x="789716" y="666885"/>
                  <a:pt x="790431" y="671884"/>
                  <a:pt x="790431" y="677597"/>
                </a:cubicBezTo>
                <a:cubicBezTo>
                  <a:pt x="790431" y="679740"/>
                  <a:pt x="790431" y="681168"/>
                  <a:pt x="789716" y="683311"/>
                </a:cubicBezTo>
                <a:cubicBezTo>
                  <a:pt x="789716" y="683311"/>
                  <a:pt x="789716" y="684025"/>
                  <a:pt x="789716" y="684025"/>
                </a:cubicBezTo>
                <a:cubicBezTo>
                  <a:pt x="789716" y="686167"/>
                  <a:pt x="789716" y="687596"/>
                  <a:pt x="789002" y="689738"/>
                </a:cubicBezTo>
                <a:cubicBezTo>
                  <a:pt x="786143" y="708306"/>
                  <a:pt x="776852" y="724732"/>
                  <a:pt x="763988" y="736873"/>
                </a:cubicBezTo>
                <a:cubicBezTo>
                  <a:pt x="763988" y="736873"/>
                  <a:pt x="763273" y="736873"/>
                  <a:pt x="763273" y="736873"/>
                </a:cubicBezTo>
                <a:cubicBezTo>
                  <a:pt x="761844" y="738301"/>
                  <a:pt x="760415" y="739016"/>
                  <a:pt x="758985" y="740444"/>
                </a:cubicBezTo>
                <a:cubicBezTo>
                  <a:pt x="757556" y="741872"/>
                  <a:pt x="756127" y="742586"/>
                  <a:pt x="754697" y="743301"/>
                </a:cubicBezTo>
                <a:cubicBezTo>
                  <a:pt x="753983" y="744015"/>
                  <a:pt x="753983" y="744015"/>
                  <a:pt x="753983" y="744015"/>
                </a:cubicBezTo>
                <a:cubicBezTo>
                  <a:pt x="752553" y="744729"/>
                  <a:pt x="751124" y="746157"/>
                  <a:pt x="749695" y="746871"/>
                </a:cubicBezTo>
                <a:cubicBezTo>
                  <a:pt x="748980" y="746871"/>
                  <a:pt x="748265" y="746871"/>
                  <a:pt x="748265" y="747586"/>
                </a:cubicBezTo>
                <a:cubicBezTo>
                  <a:pt x="746836" y="748300"/>
                  <a:pt x="745407" y="749014"/>
                  <a:pt x="743263" y="749728"/>
                </a:cubicBezTo>
                <a:cubicBezTo>
                  <a:pt x="743263" y="749728"/>
                  <a:pt x="742548" y="749728"/>
                  <a:pt x="742548" y="750442"/>
                </a:cubicBezTo>
                <a:cubicBezTo>
                  <a:pt x="741118" y="750442"/>
                  <a:pt x="739689" y="751156"/>
                  <a:pt x="738260" y="751871"/>
                </a:cubicBezTo>
                <a:cubicBezTo>
                  <a:pt x="731828" y="754013"/>
                  <a:pt x="725396" y="755441"/>
                  <a:pt x="718964" y="756156"/>
                </a:cubicBezTo>
                <a:cubicBezTo>
                  <a:pt x="718964" y="756156"/>
                  <a:pt x="718964" y="756156"/>
                  <a:pt x="624626" y="765440"/>
                </a:cubicBezTo>
                <a:cubicBezTo>
                  <a:pt x="662504" y="779723"/>
                  <a:pt x="703241" y="785436"/>
                  <a:pt x="743263" y="782580"/>
                </a:cubicBezTo>
                <a:cubicBezTo>
                  <a:pt x="753983" y="781866"/>
                  <a:pt x="764703" y="780437"/>
                  <a:pt x="775423" y="778295"/>
                </a:cubicBezTo>
                <a:cubicBezTo>
                  <a:pt x="778996" y="777581"/>
                  <a:pt x="781855" y="776866"/>
                  <a:pt x="785428" y="776152"/>
                </a:cubicBezTo>
                <a:cubicBezTo>
                  <a:pt x="786143" y="776152"/>
                  <a:pt x="786143" y="776152"/>
                  <a:pt x="786858" y="775438"/>
                </a:cubicBezTo>
                <a:cubicBezTo>
                  <a:pt x="790431" y="774724"/>
                  <a:pt x="793290" y="774010"/>
                  <a:pt x="796863" y="773296"/>
                </a:cubicBezTo>
                <a:cubicBezTo>
                  <a:pt x="806869" y="770439"/>
                  <a:pt x="816874" y="766868"/>
                  <a:pt x="826880" y="762583"/>
                </a:cubicBezTo>
                <a:cubicBezTo>
                  <a:pt x="857611" y="750442"/>
                  <a:pt x="885483" y="732588"/>
                  <a:pt x="909782" y="709735"/>
                </a:cubicBezTo>
                <a:cubicBezTo>
                  <a:pt x="916214" y="704021"/>
                  <a:pt x="921931" y="697594"/>
                  <a:pt x="928363" y="691166"/>
                </a:cubicBezTo>
                <a:cubicBezTo>
                  <a:pt x="928363" y="691166"/>
                  <a:pt x="928363" y="691166"/>
                  <a:pt x="975532" y="637604"/>
                </a:cubicBezTo>
                <a:cubicBezTo>
                  <a:pt x="976961" y="636176"/>
                  <a:pt x="977676" y="635461"/>
                  <a:pt x="978391" y="634033"/>
                </a:cubicBezTo>
                <a:cubicBezTo>
                  <a:pt x="979105" y="634033"/>
                  <a:pt x="979105" y="634033"/>
                  <a:pt x="979105" y="634033"/>
                </a:cubicBezTo>
                <a:cubicBezTo>
                  <a:pt x="994114" y="619036"/>
                  <a:pt x="1013410" y="610466"/>
                  <a:pt x="1034135" y="609037"/>
                </a:cubicBezTo>
                <a:cubicBezTo>
                  <a:pt x="1034850" y="609037"/>
                  <a:pt x="1034850" y="609037"/>
                  <a:pt x="1034850" y="609037"/>
                </a:cubicBezTo>
                <a:cubicBezTo>
                  <a:pt x="1036279" y="609037"/>
                  <a:pt x="1037709" y="609037"/>
                  <a:pt x="1039138" y="609037"/>
                </a:cubicBezTo>
                <a:cubicBezTo>
                  <a:pt x="1039138" y="609037"/>
                  <a:pt x="1039853" y="609037"/>
                  <a:pt x="1040567" y="609037"/>
                </a:cubicBezTo>
                <a:cubicBezTo>
                  <a:pt x="1054146" y="609037"/>
                  <a:pt x="1067725" y="613322"/>
                  <a:pt x="1079875" y="619750"/>
                </a:cubicBezTo>
                <a:cubicBezTo>
                  <a:pt x="1081304" y="620464"/>
                  <a:pt x="1082019" y="621178"/>
                  <a:pt x="1083448" y="621892"/>
                </a:cubicBezTo>
                <a:cubicBezTo>
                  <a:pt x="1084877" y="622606"/>
                  <a:pt x="1085592" y="623321"/>
                  <a:pt x="1086307" y="623321"/>
                </a:cubicBezTo>
                <a:cubicBezTo>
                  <a:pt x="1087021" y="624035"/>
                  <a:pt x="1087021" y="624035"/>
                  <a:pt x="1087021" y="624035"/>
                </a:cubicBezTo>
                <a:cubicBezTo>
                  <a:pt x="1087736" y="624749"/>
                  <a:pt x="1089165" y="625463"/>
                  <a:pt x="1089880" y="626177"/>
                </a:cubicBezTo>
                <a:cubicBezTo>
                  <a:pt x="1089880" y="626177"/>
                  <a:pt x="1090595" y="626891"/>
                  <a:pt x="1090595" y="626891"/>
                </a:cubicBezTo>
                <a:cubicBezTo>
                  <a:pt x="1091309" y="627606"/>
                  <a:pt x="1092024" y="627606"/>
                  <a:pt x="1092739" y="628320"/>
                </a:cubicBezTo>
                <a:cubicBezTo>
                  <a:pt x="1093453" y="629034"/>
                  <a:pt x="1094168" y="629748"/>
                  <a:pt x="1095597" y="630462"/>
                </a:cubicBezTo>
                <a:cubicBezTo>
                  <a:pt x="1095597" y="630462"/>
                  <a:pt x="1095597" y="631176"/>
                  <a:pt x="1095597" y="631176"/>
                </a:cubicBezTo>
                <a:cubicBezTo>
                  <a:pt x="1129902" y="661886"/>
                  <a:pt x="1133475" y="713306"/>
                  <a:pt x="1103459" y="748300"/>
                </a:cubicBezTo>
                <a:cubicBezTo>
                  <a:pt x="1103459" y="748300"/>
                  <a:pt x="1103459" y="748300"/>
                  <a:pt x="1072013" y="786151"/>
                </a:cubicBezTo>
                <a:cubicBezTo>
                  <a:pt x="1040567" y="822573"/>
                  <a:pt x="1004834" y="855425"/>
                  <a:pt x="966241" y="882563"/>
                </a:cubicBezTo>
                <a:cubicBezTo>
                  <a:pt x="963383" y="884705"/>
                  <a:pt x="959809" y="886848"/>
                  <a:pt x="956950" y="888990"/>
                </a:cubicBezTo>
                <a:cubicBezTo>
                  <a:pt x="954092" y="891133"/>
                  <a:pt x="951233" y="893275"/>
                  <a:pt x="948374" y="894704"/>
                </a:cubicBezTo>
                <a:cubicBezTo>
                  <a:pt x="904779" y="923270"/>
                  <a:pt x="856896" y="946124"/>
                  <a:pt x="806154" y="961835"/>
                </a:cubicBezTo>
                <a:cubicBezTo>
                  <a:pt x="801866" y="963264"/>
                  <a:pt x="797578" y="964692"/>
                  <a:pt x="792575" y="966120"/>
                </a:cubicBezTo>
                <a:cubicBezTo>
                  <a:pt x="791146" y="966120"/>
                  <a:pt x="789716" y="966835"/>
                  <a:pt x="788287" y="966835"/>
                </a:cubicBezTo>
                <a:cubicBezTo>
                  <a:pt x="785428" y="967549"/>
                  <a:pt x="782570" y="968977"/>
                  <a:pt x="779711" y="969691"/>
                </a:cubicBezTo>
                <a:cubicBezTo>
                  <a:pt x="777567" y="969691"/>
                  <a:pt x="775423" y="970405"/>
                  <a:pt x="773994" y="971120"/>
                </a:cubicBezTo>
                <a:cubicBezTo>
                  <a:pt x="771135" y="971834"/>
                  <a:pt x="768991" y="971834"/>
                  <a:pt x="766132" y="972548"/>
                </a:cubicBezTo>
                <a:cubicBezTo>
                  <a:pt x="763988" y="973262"/>
                  <a:pt x="761844" y="973976"/>
                  <a:pt x="759700" y="974690"/>
                </a:cubicBezTo>
                <a:cubicBezTo>
                  <a:pt x="757556" y="974690"/>
                  <a:pt x="756127" y="975405"/>
                  <a:pt x="753983" y="975405"/>
                </a:cubicBezTo>
                <a:cubicBezTo>
                  <a:pt x="743977" y="977547"/>
                  <a:pt x="733972" y="979690"/>
                  <a:pt x="724681" y="981832"/>
                </a:cubicBezTo>
                <a:cubicBezTo>
                  <a:pt x="723252" y="981832"/>
                  <a:pt x="722537" y="981832"/>
                  <a:pt x="721822" y="981832"/>
                </a:cubicBezTo>
                <a:cubicBezTo>
                  <a:pt x="718249" y="982546"/>
                  <a:pt x="714676" y="983260"/>
                  <a:pt x="711102" y="983975"/>
                </a:cubicBezTo>
                <a:cubicBezTo>
                  <a:pt x="710387" y="983975"/>
                  <a:pt x="710387" y="983975"/>
                  <a:pt x="709673" y="983975"/>
                </a:cubicBezTo>
                <a:cubicBezTo>
                  <a:pt x="689662" y="986831"/>
                  <a:pt x="670366" y="988974"/>
                  <a:pt x="650355" y="990402"/>
                </a:cubicBezTo>
                <a:cubicBezTo>
                  <a:pt x="649640" y="990402"/>
                  <a:pt x="648925" y="990402"/>
                  <a:pt x="648211" y="990402"/>
                </a:cubicBezTo>
                <a:cubicBezTo>
                  <a:pt x="644637" y="990402"/>
                  <a:pt x="641064" y="990402"/>
                  <a:pt x="637491" y="991116"/>
                </a:cubicBezTo>
                <a:cubicBezTo>
                  <a:pt x="636776" y="991116"/>
                  <a:pt x="636061" y="991116"/>
                  <a:pt x="635347" y="991116"/>
                </a:cubicBezTo>
                <a:cubicBezTo>
                  <a:pt x="630344" y="991116"/>
                  <a:pt x="626056" y="991116"/>
                  <a:pt x="621053" y="991116"/>
                </a:cubicBezTo>
                <a:cubicBezTo>
                  <a:pt x="621053" y="991116"/>
                  <a:pt x="620338" y="991116"/>
                  <a:pt x="620338" y="991116"/>
                </a:cubicBezTo>
                <a:cubicBezTo>
                  <a:pt x="617480" y="991116"/>
                  <a:pt x="614621" y="991116"/>
                  <a:pt x="612477" y="991116"/>
                </a:cubicBezTo>
                <a:cubicBezTo>
                  <a:pt x="610333" y="991116"/>
                  <a:pt x="608189" y="991116"/>
                  <a:pt x="606045" y="991116"/>
                </a:cubicBezTo>
                <a:cubicBezTo>
                  <a:pt x="603901" y="991116"/>
                  <a:pt x="601042" y="991116"/>
                  <a:pt x="598898" y="991116"/>
                </a:cubicBezTo>
                <a:cubicBezTo>
                  <a:pt x="596754" y="991116"/>
                  <a:pt x="594610" y="991116"/>
                  <a:pt x="592466" y="991116"/>
                </a:cubicBezTo>
                <a:cubicBezTo>
                  <a:pt x="589607" y="991116"/>
                  <a:pt x="587463" y="991116"/>
                  <a:pt x="584605" y="990402"/>
                </a:cubicBezTo>
                <a:cubicBezTo>
                  <a:pt x="582461" y="990402"/>
                  <a:pt x="581031" y="990402"/>
                  <a:pt x="578887" y="990402"/>
                </a:cubicBezTo>
                <a:cubicBezTo>
                  <a:pt x="575314" y="990402"/>
                  <a:pt x="571026" y="989688"/>
                  <a:pt x="566738" y="989688"/>
                </a:cubicBezTo>
                <a:cubicBezTo>
                  <a:pt x="566738" y="989688"/>
                  <a:pt x="566023" y="989688"/>
                  <a:pt x="566023" y="989688"/>
                </a:cubicBezTo>
                <a:cubicBezTo>
                  <a:pt x="566023" y="989688"/>
                  <a:pt x="566023" y="989688"/>
                  <a:pt x="485265" y="983975"/>
                </a:cubicBezTo>
                <a:cubicBezTo>
                  <a:pt x="485265" y="983975"/>
                  <a:pt x="485265" y="983975"/>
                  <a:pt x="416656" y="978975"/>
                </a:cubicBezTo>
                <a:cubicBezTo>
                  <a:pt x="415227" y="978975"/>
                  <a:pt x="413083" y="978975"/>
                  <a:pt x="410939" y="978975"/>
                </a:cubicBezTo>
                <a:cubicBezTo>
                  <a:pt x="410224" y="978975"/>
                  <a:pt x="408794" y="978975"/>
                  <a:pt x="407365" y="978975"/>
                </a:cubicBezTo>
                <a:cubicBezTo>
                  <a:pt x="402362" y="978975"/>
                  <a:pt x="398074" y="979690"/>
                  <a:pt x="393072" y="980404"/>
                </a:cubicBezTo>
                <a:cubicBezTo>
                  <a:pt x="391642" y="981118"/>
                  <a:pt x="390213" y="981118"/>
                  <a:pt x="388784" y="981118"/>
                </a:cubicBezTo>
                <a:cubicBezTo>
                  <a:pt x="388784" y="981832"/>
                  <a:pt x="388784" y="981832"/>
                  <a:pt x="388784" y="981832"/>
                </a:cubicBezTo>
                <a:cubicBezTo>
                  <a:pt x="387354" y="981832"/>
                  <a:pt x="385925" y="982546"/>
                  <a:pt x="384496" y="982546"/>
                </a:cubicBezTo>
                <a:cubicBezTo>
                  <a:pt x="384496" y="982546"/>
                  <a:pt x="384496" y="982546"/>
                  <a:pt x="383781" y="983260"/>
                </a:cubicBezTo>
                <a:cubicBezTo>
                  <a:pt x="382352" y="983260"/>
                  <a:pt x="380922" y="983975"/>
                  <a:pt x="379493" y="984689"/>
                </a:cubicBezTo>
                <a:cubicBezTo>
                  <a:pt x="379493" y="984689"/>
                  <a:pt x="379493" y="984689"/>
                  <a:pt x="21441" y="1123237"/>
                </a:cubicBezTo>
                <a:cubicBezTo>
                  <a:pt x="20011" y="1123951"/>
                  <a:pt x="17867" y="1123951"/>
                  <a:pt x="15723" y="1123951"/>
                </a:cubicBezTo>
                <a:cubicBezTo>
                  <a:pt x="12864" y="1123951"/>
                  <a:pt x="10006" y="1123237"/>
                  <a:pt x="7147" y="1121094"/>
                </a:cubicBezTo>
                <a:cubicBezTo>
                  <a:pt x="2859" y="1118238"/>
                  <a:pt x="0" y="1113239"/>
                  <a:pt x="0" y="1108239"/>
                </a:cubicBezTo>
                <a:cubicBezTo>
                  <a:pt x="0" y="1108239"/>
                  <a:pt x="0" y="1108239"/>
                  <a:pt x="0" y="791864"/>
                </a:cubicBezTo>
                <a:cubicBezTo>
                  <a:pt x="0" y="786151"/>
                  <a:pt x="3574" y="781151"/>
                  <a:pt x="7862" y="778295"/>
                </a:cubicBezTo>
                <a:cubicBezTo>
                  <a:pt x="7862" y="778295"/>
                  <a:pt x="7862" y="778295"/>
                  <a:pt x="310169" y="606895"/>
                </a:cubicBezTo>
                <a:cubicBezTo>
                  <a:pt x="311599" y="605466"/>
                  <a:pt x="313743" y="604752"/>
                  <a:pt x="315887" y="604038"/>
                </a:cubicBezTo>
                <a:cubicBezTo>
                  <a:pt x="316601" y="603324"/>
                  <a:pt x="317316" y="603324"/>
                  <a:pt x="318031" y="602610"/>
                </a:cubicBezTo>
                <a:cubicBezTo>
                  <a:pt x="318745" y="601896"/>
                  <a:pt x="320175" y="601181"/>
                  <a:pt x="320889" y="601181"/>
                </a:cubicBezTo>
                <a:cubicBezTo>
                  <a:pt x="322319" y="600467"/>
                  <a:pt x="323033" y="599753"/>
                  <a:pt x="324463" y="599753"/>
                </a:cubicBezTo>
                <a:cubicBezTo>
                  <a:pt x="325177" y="599039"/>
                  <a:pt x="325892" y="599039"/>
                  <a:pt x="326607" y="598325"/>
                </a:cubicBezTo>
                <a:cubicBezTo>
                  <a:pt x="328036" y="597611"/>
                  <a:pt x="329466" y="597611"/>
                  <a:pt x="330180" y="596896"/>
                </a:cubicBezTo>
                <a:cubicBezTo>
                  <a:pt x="330895" y="596896"/>
                  <a:pt x="331610" y="596182"/>
                  <a:pt x="332324" y="596182"/>
                </a:cubicBezTo>
                <a:cubicBezTo>
                  <a:pt x="333754" y="595468"/>
                  <a:pt x="335183" y="594754"/>
                  <a:pt x="336612" y="594754"/>
                </a:cubicBezTo>
                <a:cubicBezTo>
                  <a:pt x="336612" y="594040"/>
                  <a:pt x="337327" y="594040"/>
                  <a:pt x="338042" y="594040"/>
                </a:cubicBezTo>
                <a:cubicBezTo>
                  <a:pt x="339471" y="593326"/>
                  <a:pt x="340900" y="592611"/>
                  <a:pt x="342330" y="592611"/>
                </a:cubicBezTo>
                <a:cubicBezTo>
                  <a:pt x="343044" y="591897"/>
                  <a:pt x="343044" y="591897"/>
                  <a:pt x="343044" y="591897"/>
                </a:cubicBezTo>
                <a:cubicBezTo>
                  <a:pt x="345188" y="591183"/>
                  <a:pt x="346618" y="591183"/>
                  <a:pt x="348047" y="590469"/>
                </a:cubicBezTo>
                <a:cubicBezTo>
                  <a:pt x="348762" y="590469"/>
                  <a:pt x="348762" y="590469"/>
                  <a:pt x="348762" y="590469"/>
                </a:cubicBezTo>
                <a:cubicBezTo>
                  <a:pt x="360197" y="586898"/>
                  <a:pt x="370917" y="584756"/>
                  <a:pt x="382352" y="583327"/>
                </a:cubicBezTo>
                <a:cubicBezTo>
                  <a:pt x="383066" y="583327"/>
                  <a:pt x="383781" y="583327"/>
                  <a:pt x="383781" y="583327"/>
                </a:cubicBezTo>
                <a:cubicBezTo>
                  <a:pt x="385210" y="583327"/>
                  <a:pt x="386640" y="583327"/>
                  <a:pt x="387354" y="583327"/>
                </a:cubicBezTo>
                <a:cubicBezTo>
                  <a:pt x="388784" y="583327"/>
                  <a:pt x="389498" y="583327"/>
                  <a:pt x="390213" y="582613"/>
                </a:cubicBezTo>
                <a:close/>
                <a:moveTo>
                  <a:pt x="609464" y="0"/>
                </a:moveTo>
                <a:cubicBezTo>
                  <a:pt x="766900" y="0"/>
                  <a:pt x="766900" y="0"/>
                  <a:pt x="766900" y="0"/>
                </a:cubicBezTo>
                <a:cubicBezTo>
                  <a:pt x="776918" y="0"/>
                  <a:pt x="785506" y="8576"/>
                  <a:pt x="785506" y="18581"/>
                </a:cubicBezTo>
                <a:cubicBezTo>
                  <a:pt x="785506" y="221545"/>
                  <a:pt x="785506" y="221545"/>
                  <a:pt x="785506" y="221545"/>
                </a:cubicBezTo>
                <a:cubicBezTo>
                  <a:pt x="990173" y="221545"/>
                  <a:pt x="990173" y="221545"/>
                  <a:pt x="990173" y="221545"/>
                </a:cubicBezTo>
                <a:cubicBezTo>
                  <a:pt x="1000191" y="221545"/>
                  <a:pt x="1008063" y="230121"/>
                  <a:pt x="1008063" y="240126"/>
                </a:cubicBezTo>
                <a:cubicBezTo>
                  <a:pt x="1008063" y="396637"/>
                  <a:pt x="1008063" y="396637"/>
                  <a:pt x="1008063" y="396637"/>
                </a:cubicBezTo>
                <a:cubicBezTo>
                  <a:pt x="1008063" y="406642"/>
                  <a:pt x="1000191" y="413789"/>
                  <a:pt x="990173" y="413789"/>
                </a:cubicBezTo>
                <a:cubicBezTo>
                  <a:pt x="785506" y="413789"/>
                  <a:pt x="785506" y="413789"/>
                  <a:pt x="785506" y="413789"/>
                </a:cubicBezTo>
                <a:cubicBezTo>
                  <a:pt x="785506" y="562438"/>
                  <a:pt x="785506" y="562438"/>
                  <a:pt x="785506" y="562438"/>
                </a:cubicBezTo>
                <a:cubicBezTo>
                  <a:pt x="785506" y="562438"/>
                  <a:pt x="785506" y="562438"/>
                  <a:pt x="785506" y="595313"/>
                </a:cubicBezTo>
                <a:cubicBezTo>
                  <a:pt x="767615" y="579590"/>
                  <a:pt x="744000" y="568870"/>
                  <a:pt x="717522" y="567441"/>
                </a:cubicBezTo>
                <a:cubicBezTo>
                  <a:pt x="717522" y="567441"/>
                  <a:pt x="717522" y="567441"/>
                  <a:pt x="590858" y="561009"/>
                </a:cubicBezTo>
                <a:cubicBezTo>
                  <a:pt x="590858" y="561009"/>
                  <a:pt x="590858" y="561009"/>
                  <a:pt x="590858" y="553148"/>
                </a:cubicBezTo>
                <a:cubicBezTo>
                  <a:pt x="590858" y="533137"/>
                  <a:pt x="590858" y="515985"/>
                  <a:pt x="590858" y="500978"/>
                </a:cubicBezTo>
                <a:cubicBezTo>
                  <a:pt x="590858" y="413789"/>
                  <a:pt x="590858" y="413789"/>
                  <a:pt x="590858" y="413789"/>
                </a:cubicBezTo>
                <a:cubicBezTo>
                  <a:pt x="386191" y="413789"/>
                  <a:pt x="386191" y="413789"/>
                  <a:pt x="386191" y="413789"/>
                </a:cubicBezTo>
                <a:cubicBezTo>
                  <a:pt x="376172" y="413789"/>
                  <a:pt x="368300" y="406642"/>
                  <a:pt x="368300" y="396637"/>
                </a:cubicBezTo>
                <a:cubicBezTo>
                  <a:pt x="368300" y="240126"/>
                  <a:pt x="368300" y="240126"/>
                  <a:pt x="368300" y="240126"/>
                </a:cubicBezTo>
                <a:cubicBezTo>
                  <a:pt x="368300" y="230121"/>
                  <a:pt x="376172" y="221545"/>
                  <a:pt x="386191" y="221545"/>
                </a:cubicBezTo>
                <a:cubicBezTo>
                  <a:pt x="590858" y="221545"/>
                  <a:pt x="590858" y="221545"/>
                  <a:pt x="590858" y="221545"/>
                </a:cubicBezTo>
                <a:cubicBezTo>
                  <a:pt x="590858" y="18581"/>
                  <a:pt x="590858" y="18581"/>
                  <a:pt x="590858" y="18581"/>
                </a:cubicBezTo>
                <a:cubicBezTo>
                  <a:pt x="590858" y="8576"/>
                  <a:pt x="599445" y="0"/>
                  <a:pt x="60946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cs-CZ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773" y="355603"/>
            <a:ext cx="10158696" cy="558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l-PL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22"/>
          </p:nvPr>
        </p:nvSpPr>
        <p:spPr>
          <a:xfrm>
            <a:off x="529429" y="1378783"/>
            <a:ext cx="2642139" cy="391559"/>
          </a:xfrm>
          <a:noFill/>
        </p:spPr>
        <p:txBody>
          <a:bodyPr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3"/>
          </p:nvPr>
        </p:nvSpPr>
        <p:spPr>
          <a:xfrm>
            <a:off x="4079875" y="1378783"/>
            <a:ext cx="4845016" cy="391559"/>
          </a:xfrm>
          <a:noFill/>
        </p:spPr>
        <p:txBody>
          <a:bodyPr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7"/>
          </p:nvPr>
        </p:nvSpPr>
        <p:spPr>
          <a:xfrm>
            <a:off x="529429" y="1865995"/>
            <a:ext cx="3039680" cy="1411756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4"/>
          </p:nvPr>
        </p:nvSpPr>
        <p:spPr>
          <a:xfrm>
            <a:off x="529429" y="3292323"/>
            <a:ext cx="3039680" cy="1518479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5"/>
          </p:nvPr>
        </p:nvSpPr>
        <p:spPr>
          <a:xfrm>
            <a:off x="529429" y="4818089"/>
            <a:ext cx="3039680" cy="1347760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/>
          </p:nvPr>
        </p:nvSpPr>
        <p:spPr>
          <a:xfrm>
            <a:off x="4088178" y="1865998"/>
            <a:ext cx="7557081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9"/>
          </p:nvPr>
        </p:nvSpPr>
        <p:spPr>
          <a:xfrm>
            <a:off x="4088178" y="2318627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30"/>
          </p:nvPr>
        </p:nvSpPr>
        <p:spPr>
          <a:xfrm>
            <a:off x="4088176" y="2771255"/>
            <a:ext cx="7557080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1"/>
          </p:nvPr>
        </p:nvSpPr>
        <p:spPr>
          <a:xfrm>
            <a:off x="4088178" y="3472376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32"/>
          </p:nvPr>
        </p:nvSpPr>
        <p:spPr>
          <a:xfrm>
            <a:off x="4088176" y="3794931"/>
            <a:ext cx="7557080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33"/>
          </p:nvPr>
        </p:nvSpPr>
        <p:spPr>
          <a:xfrm>
            <a:off x="4088178" y="4247560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7" name="Text Placeholder 2"/>
          <p:cNvSpPr>
            <a:spLocks noGrp="1"/>
          </p:cNvSpPr>
          <p:nvPr>
            <p:ph type="body" idx="34"/>
          </p:nvPr>
        </p:nvSpPr>
        <p:spPr>
          <a:xfrm>
            <a:off x="4088178" y="4900471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idx="35"/>
          </p:nvPr>
        </p:nvSpPr>
        <p:spPr>
          <a:xfrm>
            <a:off x="4088178" y="5353099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Text Placeholder 2"/>
          <p:cNvSpPr>
            <a:spLocks noGrp="1"/>
          </p:cNvSpPr>
          <p:nvPr>
            <p:ph type="body" idx="36"/>
          </p:nvPr>
        </p:nvSpPr>
        <p:spPr>
          <a:xfrm>
            <a:off x="4088178" y="5805728"/>
            <a:ext cx="7587887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77794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Colu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3">
            <a:extLst>
              <a:ext uri="{FF2B5EF4-FFF2-40B4-BE49-F238E27FC236}">
                <a16:creationId xmlns:a16="http://schemas.microsoft.com/office/drawing/2014/main" id="{06B49BDB-6D4F-4A39-963C-6BE2052EC09C}"/>
              </a:ext>
            </a:extLst>
          </p:cNvPr>
          <p:cNvCxnSpPr>
            <a:cxnSpLocks/>
          </p:cNvCxnSpPr>
          <p:nvPr/>
        </p:nvCxnSpPr>
        <p:spPr bwMode="auto">
          <a:xfrm>
            <a:off x="529167" y="1860550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21">
            <a:extLst>
              <a:ext uri="{FF2B5EF4-FFF2-40B4-BE49-F238E27FC236}">
                <a16:creationId xmlns:a16="http://schemas.microsoft.com/office/drawing/2014/main" id="{FD03F194-E3F8-463E-B918-8B08EE9DF3DC}"/>
              </a:ext>
            </a:extLst>
          </p:cNvPr>
          <p:cNvCxnSpPr>
            <a:cxnSpLocks/>
          </p:cNvCxnSpPr>
          <p:nvPr/>
        </p:nvCxnSpPr>
        <p:spPr bwMode="auto">
          <a:xfrm>
            <a:off x="516467" y="3294063"/>
            <a:ext cx="11159067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23">
            <a:extLst>
              <a:ext uri="{FF2B5EF4-FFF2-40B4-BE49-F238E27FC236}">
                <a16:creationId xmlns:a16="http://schemas.microsoft.com/office/drawing/2014/main" id="{082B20C8-1250-48D6-8056-5E0BA05C0420}"/>
              </a:ext>
            </a:extLst>
          </p:cNvPr>
          <p:cNvCxnSpPr>
            <a:cxnSpLocks/>
          </p:cNvCxnSpPr>
          <p:nvPr/>
        </p:nvCxnSpPr>
        <p:spPr bwMode="auto">
          <a:xfrm>
            <a:off x="529167" y="4729163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773" y="355603"/>
            <a:ext cx="10158696" cy="558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l-PL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22"/>
          </p:nvPr>
        </p:nvSpPr>
        <p:spPr>
          <a:xfrm>
            <a:off x="3345912" y="1378783"/>
            <a:ext cx="2642139" cy="391559"/>
          </a:xfrm>
          <a:noFill/>
        </p:spPr>
        <p:txBody>
          <a:bodyPr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3"/>
          </p:nvPr>
        </p:nvSpPr>
        <p:spPr>
          <a:xfrm>
            <a:off x="6817555" y="1378783"/>
            <a:ext cx="4845016" cy="391559"/>
          </a:xfrm>
          <a:noFill/>
        </p:spPr>
        <p:txBody>
          <a:bodyPr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7"/>
          </p:nvPr>
        </p:nvSpPr>
        <p:spPr>
          <a:xfrm>
            <a:off x="529433" y="2359235"/>
            <a:ext cx="1427356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/>
          </p:nvPr>
        </p:nvSpPr>
        <p:spPr>
          <a:xfrm>
            <a:off x="3345915" y="2359235"/>
            <a:ext cx="2858039" cy="436151"/>
          </a:xfrm>
          <a:noFill/>
        </p:spPr>
        <p:txBody>
          <a:bodyPr anchor="ctr"/>
          <a:lstStyle>
            <a:lvl1pPr marL="214313" indent="-214313" algn="l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2"/>
          <p:cNvSpPr>
            <a:spLocks noGrp="1"/>
          </p:cNvSpPr>
          <p:nvPr>
            <p:ph type="body" idx="27"/>
          </p:nvPr>
        </p:nvSpPr>
        <p:spPr>
          <a:xfrm>
            <a:off x="6811491" y="2359235"/>
            <a:ext cx="2858039" cy="436151"/>
          </a:xfrm>
          <a:noFill/>
        </p:spPr>
        <p:txBody>
          <a:bodyPr anchor="ctr"/>
          <a:lstStyle>
            <a:lvl1pPr marL="214313" indent="-214313" algn="l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2"/>
          <p:cNvSpPr>
            <a:spLocks noGrp="1"/>
          </p:cNvSpPr>
          <p:nvPr>
            <p:ph type="body" idx="28"/>
          </p:nvPr>
        </p:nvSpPr>
        <p:spPr>
          <a:xfrm>
            <a:off x="529433" y="3794068"/>
            <a:ext cx="1427356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idx="29"/>
          </p:nvPr>
        </p:nvSpPr>
        <p:spPr>
          <a:xfrm>
            <a:off x="3345915" y="3794068"/>
            <a:ext cx="2858039" cy="436151"/>
          </a:xfrm>
          <a:noFill/>
        </p:spPr>
        <p:txBody>
          <a:bodyPr anchor="ctr"/>
          <a:lstStyle>
            <a:lvl1pPr marL="214313" indent="-214313" algn="l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idx="30"/>
          </p:nvPr>
        </p:nvSpPr>
        <p:spPr>
          <a:xfrm>
            <a:off x="6811491" y="3794068"/>
            <a:ext cx="2858039" cy="436151"/>
          </a:xfrm>
          <a:noFill/>
        </p:spPr>
        <p:txBody>
          <a:bodyPr anchor="ctr"/>
          <a:lstStyle>
            <a:lvl1pPr marL="214313" indent="-214313" algn="l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idx="31"/>
          </p:nvPr>
        </p:nvSpPr>
        <p:spPr>
          <a:xfrm>
            <a:off x="529433" y="5228902"/>
            <a:ext cx="1427356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accent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idx="32"/>
          </p:nvPr>
        </p:nvSpPr>
        <p:spPr>
          <a:xfrm>
            <a:off x="3345915" y="5228902"/>
            <a:ext cx="2858039" cy="436151"/>
          </a:xfrm>
          <a:noFill/>
        </p:spPr>
        <p:txBody>
          <a:bodyPr anchor="ctr"/>
          <a:lstStyle>
            <a:lvl1pPr marL="214313" indent="-214313" algn="l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idx="33"/>
          </p:nvPr>
        </p:nvSpPr>
        <p:spPr>
          <a:xfrm>
            <a:off x="6811491" y="5228902"/>
            <a:ext cx="2858039" cy="436151"/>
          </a:xfrm>
          <a:noFill/>
        </p:spPr>
        <p:txBody>
          <a:bodyPr anchor="ctr"/>
          <a:lstStyle>
            <a:lvl1pPr marL="214313" indent="-214313" algn="l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85590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">
            <a:extLst>
              <a:ext uri="{FF2B5EF4-FFF2-40B4-BE49-F238E27FC236}">
                <a16:creationId xmlns:a16="http://schemas.microsoft.com/office/drawing/2014/main" id="{3776CFAF-4D91-4928-B329-4C2130A612AF}"/>
              </a:ext>
            </a:extLst>
          </p:cNvPr>
          <p:cNvCxnSpPr>
            <a:cxnSpLocks/>
          </p:cNvCxnSpPr>
          <p:nvPr/>
        </p:nvCxnSpPr>
        <p:spPr bwMode="auto">
          <a:xfrm>
            <a:off x="529167" y="2009775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23">
            <a:extLst>
              <a:ext uri="{FF2B5EF4-FFF2-40B4-BE49-F238E27FC236}">
                <a16:creationId xmlns:a16="http://schemas.microsoft.com/office/drawing/2014/main" id="{62C4574F-14B4-4DE7-93D6-885B38CC5B47}"/>
              </a:ext>
            </a:extLst>
          </p:cNvPr>
          <p:cNvCxnSpPr>
            <a:cxnSpLocks/>
          </p:cNvCxnSpPr>
          <p:nvPr/>
        </p:nvCxnSpPr>
        <p:spPr bwMode="auto">
          <a:xfrm>
            <a:off x="529167" y="4767263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76">
            <a:extLst>
              <a:ext uri="{FF2B5EF4-FFF2-40B4-BE49-F238E27FC236}">
                <a16:creationId xmlns:a16="http://schemas.microsoft.com/office/drawing/2014/main" id="{D2A692C4-A346-417F-BACD-339506F76017}"/>
              </a:ext>
            </a:extLst>
          </p:cNvPr>
          <p:cNvCxnSpPr>
            <a:cxnSpLocks/>
          </p:cNvCxnSpPr>
          <p:nvPr/>
        </p:nvCxnSpPr>
        <p:spPr bwMode="auto">
          <a:xfrm>
            <a:off x="529167" y="2693988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81">
            <a:extLst>
              <a:ext uri="{FF2B5EF4-FFF2-40B4-BE49-F238E27FC236}">
                <a16:creationId xmlns:a16="http://schemas.microsoft.com/office/drawing/2014/main" id="{6865A1A9-7751-4D73-8CE8-71E118ED4D4F}"/>
              </a:ext>
            </a:extLst>
          </p:cNvPr>
          <p:cNvCxnSpPr>
            <a:cxnSpLocks/>
          </p:cNvCxnSpPr>
          <p:nvPr/>
        </p:nvCxnSpPr>
        <p:spPr bwMode="auto">
          <a:xfrm>
            <a:off x="529167" y="3368675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86">
            <a:extLst>
              <a:ext uri="{FF2B5EF4-FFF2-40B4-BE49-F238E27FC236}">
                <a16:creationId xmlns:a16="http://schemas.microsoft.com/office/drawing/2014/main" id="{2198A624-5139-42A5-9B29-56F86A57FB77}"/>
              </a:ext>
            </a:extLst>
          </p:cNvPr>
          <p:cNvCxnSpPr>
            <a:cxnSpLocks/>
          </p:cNvCxnSpPr>
          <p:nvPr/>
        </p:nvCxnSpPr>
        <p:spPr bwMode="auto">
          <a:xfrm>
            <a:off x="529167" y="4032250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91">
            <a:extLst>
              <a:ext uri="{FF2B5EF4-FFF2-40B4-BE49-F238E27FC236}">
                <a16:creationId xmlns:a16="http://schemas.microsoft.com/office/drawing/2014/main" id="{C5DEB76A-65AA-4346-943E-8A85955DF8F0}"/>
              </a:ext>
            </a:extLst>
          </p:cNvPr>
          <p:cNvCxnSpPr>
            <a:cxnSpLocks/>
          </p:cNvCxnSpPr>
          <p:nvPr/>
        </p:nvCxnSpPr>
        <p:spPr bwMode="auto">
          <a:xfrm>
            <a:off x="529167" y="4708525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96">
            <a:extLst>
              <a:ext uri="{FF2B5EF4-FFF2-40B4-BE49-F238E27FC236}">
                <a16:creationId xmlns:a16="http://schemas.microsoft.com/office/drawing/2014/main" id="{A135B8C1-BB78-41F8-9F79-5641243747A9}"/>
              </a:ext>
            </a:extLst>
          </p:cNvPr>
          <p:cNvCxnSpPr>
            <a:cxnSpLocks/>
          </p:cNvCxnSpPr>
          <p:nvPr/>
        </p:nvCxnSpPr>
        <p:spPr bwMode="auto">
          <a:xfrm>
            <a:off x="529167" y="5394325"/>
            <a:ext cx="11116733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1">
            <a:extLst>
              <a:ext uri="{FF2B5EF4-FFF2-40B4-BE49-F238E27FC236}">
                <a16:creationId xmlns:a16="http://schemas.microsoft.com/office/drawing/2014/main" id="{D7D3464B-0F7C-4F53-86D1-0DB0C677DBAC}"/>
              </a:ext>
            </a:extLst>
          </p:cNvPr>
          <p:cNvSpPr txBox="1">
            <a:spLocks/>
          </p:cNvSpPr>
          <p:nvPr/>
        </p:nvSpPr>
        <p:spPr bwMode="auto">
          <a:xfrm>
            <a:off x="518584" y="808038"/>
            <a:ext cx="10157883" cy="5588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9pPr>
          </a:lstStyle>
          <a:p>
            <a:pPr defTabSz="685800">
              <a:defRPr/>
            </a:pPr>
            <a:r>
              <a:rPr lang="en-US" sz="2250" b="0" i="1" kern="0" dirty="0">
                <a:latin typeface="Minion" panose="02040503050201020203" pitchFamily="18" charset="0"/>
              </a:rPr>
              <a:t>Click to edit Master title style</a:t>
            </a:r>
            <a:endParaRPr lang="pl-PL" sz="2250" b="0" i="1" kern="0" dirty="0">
              <a:latin typeface="Minion" panose="020405030502010202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773" y="355603"/>
            <a:ext cx="10158696" cy="558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l-PL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23"/>
          </p:nvPr>
        </p:nvSpPr>
        <p:spPr>
          <a:xfrm>
            <a:off x="2805349" y="1378783"/>
            <a:ext cx="1899875" cy="391559"/>
          </a:xfrm>
          <a:noFill/>
        </p:spPr>
        <p:txBody>
          <a:bodyPr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/>
          </p:nvPr>
        </p:nvSpPr>
        <p:spPr>
          <a:xfrm>
            <a:off x="2805349" y="2016648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9" name="Text Placeholder 2"/>
          <p:cNvSpPr>
            <a:spLocks noGrp="1"/>
          </p:cNvSpPr>
          <p:nvPr>
            <p:ph type="body" idx="27"/>
          </p:nvPr>
        </p:nvSpPr>
        <p:spPr>
          <a:xfrm>
            <a:off x="523469" y="1378783"/>
            <a:ext cx="1899875" cy="391559"/>
          </a:xfrm>
          <a:noFill/>
        </p:spPr>
        <p:txBody>
          <a:bodyPr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0" name="Text Placeholder 2"/>
          <p:cNvSpPr>
            <a:spLocks noGrp="1"/>
          </p:cNvSpPr>
          <p:nvPr>
            <p:ph type="body" idx="28"/>
          </p:nvPr>
        </p:nvSpPr>
        <p:spPr>
          <a:xfrm>
            <a:off x="523469" y="2016648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3" name="Text Placeholder 2"/>
          <p:cNvSpPr>
            <a:spLocks noGrp="1"/>
          </p:cNvSpPr>
          <p:nvPr>
            <p:ph type="body" idx="29"/>
          </p:nvPr>
        </p:nvSpPr>
        <p:spPr>
          <a:xfrm>
            <a:off x="5260225" y="1378783"/>
            <a:ext cx="1899875" cy="391559"/>
          </a:xfrm>
          <a:noFill/>
        </p:spPr>
        <p:txBody>
          <a:bodyPr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idx="30"/>
          </p:nvPr>
        </p:nvSpPr>
        <p:spPr>
          <a:xfrm>
            <a:off x="5260225" y="2016648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idx="31"/>
          </p:nvPr>
        </p:nvSpPr>
        <p:spPr>
          <a:xfrm>
            <a:off x="7484441" y="1378783"/>
            <a:ext cx="4184091" cy="391559"/>
          </a:xfrm>
          <a:noFill/>
        </p:spPr>
        <p:txBody>
          <a:bodyPr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200" b="1" i="0">
                <a:solidFill>
                  <a:schemeClr val="bg1"/>
                </a:solidFill>
                <a:latin typeface="+mj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idx="32"/>
          </p:nvPr>
        </p:nvSpPr>
        <p:spPr>
          <a:xfrm>
            <a:off x="7484441" y="2016648"/>
            <a:ext cx="4184091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8" name="Text Placeholder 2"/>
          <p:cNvSpPr>
            <a:spLocks noGrp="1"/>
          </p:cNvSpPr>
          <p:nvPr>
            <p:ph type="body" idx="33"/>
          </p:nvPr>
        </p:nvSpPr>
        <p:spPr>
          <a:xfrm>
            <a:off x="2805349" y="270044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idx="34"/>
          </p:nvPr>
        </p:nvSpPr>
        <p:spPr>
          <a:xfrm>
            <a:off x="523469" y="270044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0" name="Text Placeholder 2"/>
          <p:cNvSpPr>
            <a:spLocks noGrp="1"/>
          </p:cNvSpPr>
          <p:nvPr>
            <p:ph type="body" idx="35"/>
          </p:nvPr>
        </p:nvSpPr>
        <p:spPr>
          <a:xfrm>
            <a:off x="5260225" y="270044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1" name="Text Placeholder 2"/>
          <p:cNvSpPr>
            <a:spLocks noGrp="1"/>
          </p:cNvSpPr>
          <p:nvPr>
            <p:ph type="body" idx="36"/>
          </p:nvPr>
        </p:nvSpPr>
        <p:spPr>
          <a:xfrm>
            <a:off x="7484441" y="2700444"/>
            <a:ext cx="4184091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3" name="Text Placeholder 2"/>
          <p:cNvSpPr>
            <a:spLocks noGrp="1"/>
          </p:cNvSpPr>
          <p:nvPr>
            <p:ph type="body" idx="37"/>
          </p:nvPr>
        </p:nvSpPr>
        <p:spPr>
          <a:xfrm>
            <a:off x="2805349" y="3375482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4" name="Text Placeholder 2"/>
          <p:cNvSpPr>
            <a:spLocks noGrp="1"/>
          </p:cNvSpPr>
          <p:nvPr>
            <p:ph type="body" idx="38"/>
          </p:nvPr>
        </p:nvSpPr>
        <p:spPr>
          <a:xfrm>
            <a:off x="523469" y="3375482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5" name="Text Placeholder 2"/>
          <p:cNvSpPr>
            <a:spLocks noGrp="1"/>
          </p:cNvSpPr>
          <p:nvPr>
            <p:ph type="body" idx="39"/>
          </p:nvPr>
        </p:nvSpPr>
        <p:spPr>
          <a:xfrm>
            <a:off x="5260225" y="3375482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6" name="Text Placeholder 2"/>
          <p:cNvSpPr>
            <a:spLocks noGrp="1"/>
          </p:cNvSpPr>
          <p:nvPr>
            <p:ph type="body" idx="40"/>
          </p:nvPr>
        </p:nvSpPr>
        <p:spPr>
          <a:xfrm>
            <a:off x="7484441" y="3375482"/>
            <a:ext cx="4184091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8" name="Text Placeholder 2"/>
          <p:cNvSpPr>
            <a:spLocks noGrp="1"/>
          </p:cNvSpPr>
          <p:nvPr>
            <p:ph type="body" idx="41"/>
          </p:nvPr>
        </p:nvSpPr>
        <p:spPr>
          <a:xfrm>
            <a:off x="2805349" y="403886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9" name="Text Placeholder 2"/>
          <p:cNvSpPr>
            <a:spLocks noGrp="1"/>
          </p:cNvSpPr>
          <p:nvPr>
            <p:ph type="body" idx="42"/>
          </p:nvPr>
        </p:nvSpPr>
        <p:spPr>
          <a:xfrm>
            <a:off x="523469" y="403886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0" name="Text Placeholder 2"/>
          <p:cNvSpPr>
            <a:spLocks noGrp="1"/>
          </p:cNvSpPr>
          <p:nvPr>
            <p:ph type="body" idx="43"/>
          </p:nvPr>
        </p:nvSpPr>
        <p:spPr>
          <a:xfrm>
            <a:off x="5260225" y="403886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1" name="Text Placeholder 2"/>
          <p:cNvSpPr>
            <a:spLocks noGrp="1"/>
          </p:cNvSpPr>
          <p:nvPr>
            <p:ph type="body" idx="44"/>
          </p:nvPr>
        </p:nvSpPr>
        <p:spPr>
          <a:xfrm>
            <a:off x="7484441" y="4038864"/>
            <a:ext cx="4184091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3" name="Text Placeholder 2"/>
          <p:cNvSpPr>
            <a:spLocks noGrp="1"/>
          </p:cNvSpPr>
          <p:nvPr>
            <p:ph type="body" idx="45"/>
          </p:nvPr>
        </p:nvSpPr>
        <p:spPr>
          <a:xfrm>
            <a:off x="2805349" y="4713902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Text Placeholder 2"/>
          <p:cNvSpPr>
            <a:spLocks noGrp="1"/>
          </p:cNvSpPr>
          <p:nvPr>
            <p:ph type="body" idx="46"/>
          </p:nvPr>
        </p:nvSpPr>
        <p:spPr>
          <a:xfrm>
            <a:off x="523469" y="4713902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5" name="Text Placeholder 2"/>
          <p:cNvSpPr>
            <a:spLocks noGrp="1"/>
          </p:cNvSpPr>
          <p:nvPr>
            <p:ph type="body" idx="47"/>
          </p:nvPr>
        </p:nvSpPr>
        <p:spPr>
          <a:xfrm>
            <a:off x="5260225" y="4713902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6" name="Text Placeholder 2"/>
          <p:cNvSpPr>
            <a:spLocks noGrp="1"/>
          </p:cNvSpPr>
          <p:nvPr>
            <p:ph type="body" idx="48"/>
          </p:nvPr>
        </p:nvSpPr>
        <p:spPr>
          <a:xfrm>
            <a:off x="7484441" y="4713902"/>
            <a:ext cx="4184091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8" name="Text Placeholder 2"/>
          <p:cNvSpPr>
            <a:spLocks noGrp="1"/>
          </p:cNvSpPr>
          <p:nvPr>
            <p:ph type="body" idx="49"/>
          </p:nvPr>
        </p:nvSpPr>
        <p:spPr>
          <a:xfrm>
            <a:off x="2805349" y="540053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9" name="Text Placeholder 2"/>
          <p:cNvSpPr>
            <a:spLocks noGrp="1"/>
          </p:cNvSpPr>
          <p:nvPr>
            <p:ph type="body" idx="50"/>
          </p:nvPr>
        </p:nvSpPr>
        <p:spPr>
          <a:xfrm>
            <a:off x="523469" y="540053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0" name="Text Placeholder 2"/>
          <p:cNvSpPr>
            <a:spLocks noGrp="1"/>
          </p:cNvSpPr>
          <p:nvPr>
            <p:ph type="body" idx="51"/>
          </p:nvPr>
        </p:nvSpPr>
        <p:spPr>
          <a:xfrm>
            <a:off x="5260225" y="5400534"/>
            <a:ext cx="1899875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1" name="Text Placeholder 2"/>
          <p:cNvSpPr>
            <a:spLocks noGrp="1"/>
          </p:cNvSpPr>
          <p:nvPr>
            <p:ph type="body" idx="52"/>
          </p:nvPr>
        </p:nvSpPr>
        <p:spPr>
          <a:xfrm>
            <a:off x="7484441" y="5400534"/>
            <a:ext cx="4184091" cy="436151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50" b="0" i="0">
                <a:solidFill>
                  <a:schemeClr val="bg2"/>
                </a:solidFill>
                <a:latin typeface="+mn-lt"/>
              </a:defRPr>
            </a:lvl1pPr>
            <a:lvl2pPr marL="600075" indent="-257175">
              <a:lnSpc>
                <a:spcPct val="100000"/>
              </a:lnSpc>
              <a:buFont typeface="Arial" panose="020B0604020202020204" pitchFamily="34" charset="0"/>
              <a:buChar char="•"/>
              <a:defRPr sz="1500" b="0">
                <a:latin typeface="+mn-lt"/>
              </a:defRPr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6914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513600" y="1520826"/>
            <a:ext cx="5470915" cy="4645027"/>
          </a:xfrm>
        </p:spPr>
        <p:txBody>
          <a:bodyPr/>
          <a:lstStyle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7"/>
          <p:cNvSpPr>
            <a:spLocks noGrp="1"/>
          </p:cNvSpPr>
          <p:nvPr>
            <p:ph sz="quarter" idx="11"/>
          </p:nvPr>
        </p:nvSpPr>
        <p:spPr>
          <a:xfrm>
            <a:off x="6207490" y="1520826"/>
            <a:ext cx="5472279" cy="4645027"/>
          </a:xfrm>
        </p:spPr>
        <p:txBody>
          <a:bodyPr/>
          <a:lstStyle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06263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9BCC939B-E709-46FA-8911-9587E83759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5151" y="388938"/>
            <a:ext cx="92498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1">
            <a:extLst>
              <a:ext uri="{FF2B5EF4-FFF2-40B4-BE49-F238E27FC236}">
                <a16:creationId xmlns:a16="http://schemas.microsoft.com/office/drawing/2014/main" id="{4FDE24EA-3826-4846-AFC4-144FD0E99F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918" y="2913064"/>
            <a:ext cx="11832167" cy="9540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225"/>
              </a:spcBef>
              <a:spcAft>
                <a:spcPts val="450"/>
              </a:spcAft>
              <a:buClr>
                <a:srgbClr val="0082DA"/>
              </a:buClr>
              <a:buSzPct val="100000"/>
              <a:buFont typeface="Arial" panose="020B0604020202020204" pitchFamily="34" charset="0"/>
              <a:buNone/>
              <a:defRPr/>
            </a:pPr>
            <a:r>
              <a:rPr lang="en-GB" altLang="cs-CZ" sz="4500" b="1" i="1">
                <a:solidFill>
                  <a:schemeClr val="bg1"/>
                </a:solidFill>
                <a:latin typeface="Minion"/>
              </a:rPr>
              <a:t>Doing now what patients need next</a:t>
            </a:r>
            <a:endParaRPr lang="en-GB" altLang="cs-CZ" sz="4500" b="1">
              <a:solidFill>
                <a:schemeClr val="bg1"/>
              </a:solidFill>
              <a:latin typeface="Imago"/>
            </a:endParaRPr>
          </a:p>
        </p:txBody>
      </p:sp>
      <p:pic>
        <p:nvPicPr>
          <p:cNvPr id="4" name="Graphic 7">
            <a:extLst>
              <a:ext uri="{FF2B5EF4-FFF2-40B4-BE49-F238E27FC236}">
                <a16:creationId xmlns:a16="http://schemas.microsoft.com/office/drawing/2014/main" id="{DA14538F-4E6C-45EC-9E94-6A19E6222F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5151" y="388938"/>
            <a:ext cx="92498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8">
            <a:extLst>
              <a:ext uri="{FF2B5EF4-FFF2-40B4-BE49-F238E27FC236}">
                <a16:creationId xmlns:a16="http://schemas.microsoft.com/office/drawing/2014/main" id="{8CB6BFBA-290B-47D3-BB71-8605BABC39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918" y="2913064"/>
            <a:ext cx="11832167" cy="9540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225"/>
              </a:spcBef>
              <a:spcAft>
                <a:spcPts val="450"/>
              </a:spcAft>
              <a:buClr>
                <a:srgbClr val="0082DA"/>
              </a:buClr>
              <a:buSzPct val="100000"/>
              <a:buFont typeface="Arial" panose="020B0604020202020204" pitchFamily="34" charset="0"/>
              <a:buNone/>
              <a:defRPr/>
            </a:pPr>
            <a:r>
              <a:rPr lang="en-GB" altLang="cs-CZ" sz="4500" b="1" i="1">
                <a:solidFill>
                  <a:schemeClr val="bg1"/>
                </a:solidFill>
                <a:latin typeface="Minion"/>
              </a:rPr>
              <a:t>Doing now what patients need next</a:t>
            </a:r>
            <a:endParaRPr lang="en-GB" altLang="cs-CZ" sz="4500" b="1">
              <a:solidFill>
                <a:schemeClr val="bg1"/>
              </a:solidFill>
              <a:latin typeface="Imago"/>
            </a:endParaRPr>
          </a:p>
        </p:txBody>
      </p:sp>
    </p:spTree>
    <p:extLst>
      <p:ext uri="{BB962C8B-B14F-4D97-AF65-F5344CB8AC3E}">
        <p14:creationId xmlns:p14="http://schemas.microsoft.com/office/powerpoint/2010/main" val="14544999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rgbClr val="242F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0F170349-7FBD-4F9D-9EC7-60AC934C0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99935" y="1475659"/>
            <a:ext cx="1465975" cy="805313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362CDD75-0B17-4B19-B022-9094D0AEA2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94364" y="2861382"/>
            <a:ext cx="1277115" cy="982981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D8097DF4-B4B0-49D1-84D1-7CDF706633D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1107" y="4931451"/>
            <a:ext cx="1294803" cy="653195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F72949BF-D2EA-488D-9DD7-93D60699701B}"/>
              </a:ext>
            </a:extLst>
          </p:cNvPr>
          <p:cNvSpPr txBox="1"/>
          <p:nvPr userDrawn="1"/>
        </p:nvSpPr>
        <p:spPr>
          <a:xfrm>
            <a:off x="252919" y="6336707"/>
            <a:ext cx="13170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>
                <a:solidFill>
                  <a:srgbClr val="242F75"/>
                </a:solidFill>
              </a:rPr>
              <a:t>www.czecrin.cz</a:t>
            </a:r>
          </a:p>
        </p:txBody>
      </p:sp>
    </p:spTree>
    <p:extLst>
      <p:ext uri="{BB962C8B-B14F-4D97-AF65-F5344CB8AC3E}">
        <p14:creationId xmlns:p14="http://schemas.microsoft.com/office/powerpoint/2010/main" val="212464967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11686162" cy="550727"/>
          </a:xfrm>
        </p:spPr>
        <p:txBody>
          <a:bodyPr/>
          <a:lstStyle>
            <a:lvl1pPr>
              <a:defRPr>
                <a:solidFill>
                  <a:srgbClr val="242F75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2919" y="1927952"/>
            <a:ext cx="11686162" cy="3938413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491700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786" y="1224084"/>
            <a:ext cx="11589294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rgbClr val="242F75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9786" y="4679622"/>
            <a:ext cx="11589294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241691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11686162" cy="550727"/>
          </a:xfrm>
        </p:spPr>
        <p:txBody>
          <a:bodyPr/>
          <a:lstStyle>
            <a:lvl1pPr>
              <a:defRPr>
                <a:solidFill>
                  <a:srgbClr val="242F75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2918" y="1838048"/>
            <a:ext cx="5843081" cy="389611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4529" y="1838048"/>
            <a:ext cx="5714551" cy="389611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52865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8335213-03E8-4E24-9798-FD763FAC8D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78F984-19F3-4C8F-83D5-B1FAF26CD60C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930987F-BE01-4962-BD13-6F276074E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5945124-F2A4-47C8-BC3B-5C7D3259A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564F12-0641-4B5E-8914-CDF57196A1F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827338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95654" y="1123837"/>
            <a:ext cx="984738" cy="4679086"/>
          </a:xfrm>
        </p:spPr>
        <p:txBody>
          <a:bodyPr vert="vert270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19478" y="1023586"/>
            <a:ext cx="5097606" cy="69504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19478" y="1933920"/>
            <a:ext cx="5097606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41475" y="1023586"/>
            <a:ext cx="5097606" cy="69504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41475" y="1930936"/>
            <a:ext cx="5097606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6599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CB4320DF-4742-449B-A774-CFB2AC2D0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31" y="1123837"/>
            <a:ext cx="1037492" cy="4679086"/>
          </a:xfrm>
        </p:spPr>
        <p:txBody>
          <a:bodyPr vert="vert270"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3355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bg>
      <p:bgPr>
        <a:solidFill>
          <a:srgbClr val="242F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7BA56F2-D3B1-4824-A3FD-0D5E766178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2919" y="0"/>
            <a:ext cx="1465974" cy="805313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F54B4336-44EA-4163-8097-6A6AFE944D49}"/>
              </a:ext>
            </a:extLst>
          </p:cNvPr>
          <p:cNvSpPr txBox="1"/>
          <p:nvPr userDrawn="1"/>
        </p:nvSpPr>
        <p:spPr>
          <a:xfrm>
            <a:off x="252919" y="6336707"/>
            <a:ext cx="13170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>
                <a:solidFill>
                  <a:schemeClr val="bg1"/>
                </a:solidFill>
              </a:rPr>
              <a:t>www.czecrin.cz</a:t>
            </a:r>
          </a:p>
        </p:txBody>
      </p:sp>
    </p:spTree>
    <p:extLst>
      <p:ext uri="{BB962C8B-B14F-4D97-AF65-F5344CB8AC3E}">
        <p14:creationId xmlns:p14="http://schemas.microsoft.com/office/powerpoint/2010/main" val="13119016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02693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707613" y="1123836"/>
            <a:ext cx="10231467" cy="4679087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43250BDE-F7DF-4430-A293-A29D17171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29179" y="6288520"/>
            <a:ext cx="5309901" cy="365125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8" name="Title 9">
            <a:extLst>
              <a:ext uri="{FF2B5EF4-FFF2-40B4-BE49-F238E27FC236}">
                <a16:creationId xmlns:a16="http://schemas.microsoft.com/office/drawing/2014/main" id="{8791AD8C-1D58-4C96-A8DA-52D740769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238" y="1123837"/>
            <a:ext cx="1028700" cy="4679086"/>
          </a:xfrm>
        </p:spPr>
        <p:txBody>
          <a:bodyPr vert="vert270"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390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FA81DE-A9E0-42E6-BE5D-C789E9BB3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6AB27C-38E2-44B0-B456-E86E882324B6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A4C247E-22D3-4E9E-96B7-3D15A06B8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1D43B4F-2E67-4079-8430-08F37903E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765C21-608D-441C-AE3F-BBE2B5DF6A2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56812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88544666-18F6-44B4-B70B-EB60C1B98F1A}"/>
              </a:ext>
            </a:extLst>
          </p:cNvPr>
          <p:cNvSpPr/>
          <p:nvPr/>
        </p:nvSpPr>
        <p:spPr>
          <a:xfrm>
            <a:off x="4234" y="6400800"/>
            <a:ext cx="12187767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4219A8A0-D765-406E-A067-4C5224B47C62}"/>
              </a:ext>
            </a:extLst>
          </p:cNvPr>
          <p:cNvSpPr/>
          <p:nvPr/>
        </p:nvSpPr>
        <p:spPr>
          <a:xfrm>
            <a:off x="1" y="6334125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75C4BBEF-D95D-49A2-A987-D292FDB49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BD0F4A-40E5-48D2-B68B-7489A7A3D676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A26CD42F-135A-424C-A2E7-E542CA343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2C2A615E-2F2E-4806-80C0-421EC5C2B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7524A0-DC87-4E20-A068-E9ED09C3931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10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39DBA4A9-2424-4FDC-9249-D50FC3AA0B96}"/>
              </a:ext>
            </a:extLst>
          </p:cNvPr>
          <p:cNvSpPr/>
          <p:nvPr/>
        </p:nvSpPr>
        <p:spPr>
          <a:xfrm>
            <a:off x="1" y="0"/>
            <a:ext cx="4051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E6C08910-26AE-40AD-8D71-3C24717740BB}"/>
              </a:ext>
            </a:extLst>
          </p:cNvPr>
          <p:cNvSpPr/>
          <p:nvPr/>
        </p:nvSpPr>
        <p:spPr>
          <a:xfrm>
            <a:off x="4040718" y="0"/>
            <a:ext cx="635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/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365D94C7-B9C4-493E-882C-16A042B4C9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5667" y="6459539"/>
            <a:ext cx="2618317" cy="36512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65AB029-E9E5-433E-AAD3-CE54CB92503F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EBDA3C2-2BAB-4AAA-BB82-1958AA1C9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600" y="6459539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2B6CD16C-9060-47B3-B635-B05DFFDBD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5F7E1B7-5F30-4F23-91FD-2916C482563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86560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8E2A65D0-6526-4BE1-81C2-EDB1BC50E09D}"/>
              </a:ext>
            </a:extLst>
          </p:cNvPr>
          <p:cNvSpPr/>
          <p:nvPr/>
        </p:nvSpPr>
        <p:spPr>
          <a:xfrm>
            <a:off x="1" y="4953000"/>
            <a:ext cx="12189884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BA198CB-C039-420D-906A-C86522660280}"/>
              </a:ext>
            </a:extLst>
          </p:cNvPr>
          <p:cNvSpPr/>
          <p:nvPr/>
        </p:nvSpPr>
        <p:spPr>
          <a:xfrm>
            <a:off x="1" y="4914900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tIns="0" bIns="0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1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rtlCol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cs-CZ" noProof="0"/>
              <a:t>Kliknutím na ikonu přidáte obrázek.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64575645-9038-453A-8CA1-AAD94558F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0E466C-F4D0-4C91-8EB6-B9C6C318F324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8AEDA5B0-B5F8-49FB-A64D-113DAAA8E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9228B8A9-EB0E-4E4B-BD0D-521C5AD19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A401C5-4947-4A52-B24E-0B4D700D993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65817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50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2F2F2"/>
            </a:gs>
            <a:gs pos="100000">
              <a:schemeClr val="tx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9608495-3E9A-49F4-81B4-1EDEAE73312A}"/>
              </a:ext>
            </a:extLst>
          </p:cNvPr>
          <p:cNvSpPr/>
          <p:nvPr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57F652-E960-4586-9929-4AB965DA9CDC}"/>
              </a:ext>
            </a:extLst>
          </p:cNvPr>
          <p:cNvSpPr/>
          <p:nvPr/>
        </p:nvSpPr>
        <p:spPr>
          <a:xfrm>
            <a:off x="0" y="6334126"/>
            <a:ext cx="12192000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2444A5-5793-425C-A532-FDBF7299B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6433" y="287339"/>
            <a:ext cx="10058400" cy="14493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1029" name="Text Placeholder 2">
            <a:extLst>
              <a:ext uri="{FF2B5EF4-FFF2-40B4-BE49-F238E27FC236}">
                <a16:creationId xmlns:a16="http://schemas.microsoft.com/office/drawing/2014/main" id="{BFF7357F-C5BD-4D63-941F-0BE627CCAD2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096433" y="1846264"/>
            <a:ext cx="10058400" cy="402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iknutím lze upravit styly předlohy textu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  <a:endParaRPr lang="en-US" alt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154A9F-EB17-4DFA-A231-5C26A3F652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96433" y="6459539"/>
            <a:ext cx="24722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951E6A9E-6672-4FEB-A868-3569E0E731D7}" type="datetimeFigureOut">
              <a:rPr lang="en-US"/>
              <a:pPr>
                <a:defRPr/>
              </a:pPr>
              <a:t>4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6D02D2-3A64-4A13-8BA2-1B99EB6A3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7234" y="6459539"/>
            <a:ext cx="4821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ADDE0E-22AF-4DCB-881A-641D101FD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99651" y="6459539"/>
            <a:ext cx="13123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fld id="{453B61B0-2D58-4941-A790-CC565B73692C}" type="slidenum">
              <a:rPr lang="en-US" altLang="en-US"/>
              <a:pPr/>
              <a:t>‹#›</a:t>
            </a:fld>
            <a:endParaRPr lang="en-US" alt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73B8B54-635F-4C4F-ADFB-4A55246B9AB4}"/>
              </a:ext>
            </a:extLst>
          </p:cNvPr>
          <p:cNvCxnSpPr/>
          <p:nvPr/>
        </p:nvCxnSpPr>
        <p:spPr>
          <a:xfrm>
            <a:off x="1193800" y="1738313"/>
            <a:ext cx="9967384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104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5" r:id="rId14"/>
    <p:sldLayoutId id="2147483676" r:id="rId15"/>
    <p:sldLayoutId id="2147483678" r:id="rId16"/>
    <p:sldLayoutId id="2147483679" r:id="rId17"/>
    <p:sldLayoutId id="2147483680" r:id="rId18"/>
    <p:sldLayoutId id="2147483681" r:id="rId19"/>
    <p:sldLayoutId id="2147483684" r:id="rId20"/>
    <p:sldLayoutId id="2147483685" r:id="rId21"/>
    <p:sldLayoutId id="2147483686" r:id="rId22"/>
  </p:sldLayoutIdLst>
  <p:transition spd="slow">
    <p:fade/>
  </p:transition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 kern="1200" spc="-50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9pPr>
    </p:titleStyle>
    <p:bodyStyle>
      <a:lvl1pPr marL="90488" indent="-90488" algn="l" rtl="0" eaLnBrk="0" fontAlgn="base" hangingPunct="0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rgbClr val="404040"/>
          </a:solidFill>
          <a:latin typeface="+mn-lt"/>
          <a:ea typeface="+mn-ea"/>
          <a:cs typeface="+mn-cs"/>
        </a:defRPr>
      </a:lvl1pPr>
      <a:lvl2pPr marL="38258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kern="1200">
          <a:solidFill>
            <a:srgbClr val="404040"/>
          </a:solidFill>
          <a:latin typeface="+mn-lt"/>
          <a:ea typeface="+mn-ea"/>
          <a:cs typeface="+mn-cs"/>
        </a:defRPr>
      </a:lvl2pPr>
      <a:lvl3pPr marL="56673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3pPr>
      <a:lvl4pPr marL="749300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4pPr>
      <a:lvl5pPr marL="931863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E2720F38-4D1D-4D14-9C37-B58E2939A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55D8EFDD-5286-4867-B636-1348FBC20D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6FA07C3-724B-42E6-A35B-B159003D4E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C58633-F7A5-4081-B14F-7B91DD4C185F}" type="datetimeFigureOut">
              <a:rPr lang="cs-CZ" smtClean="0"/>
              <a:t>27.04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832CE95-6E4A-4722-B2BA-EB175331EF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6DE189E-1159-4D17-9016-F18D4F4087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09584D-51B3-49C5-91ED-C0714F843EB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3216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hpPlaceholderTitle">
            <a:extLst>
              <a:ext uri="{FF2B5EF4-FFF2-40B4-BE49-F238E27FC236}">
                <a16:creationId xmlns:a16="http://schemas.microsoft.com/office/drawing/2014/main" id="{F7E4CCC4-F3CD-4E29-AF5B-D2C967D58A8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2233" y="395288"/>
            <a:ext cx="9594851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itle style</a:t>
            </a:r>
          </a:p>
        </p:txBody>
      </p:sp>
      <p:sp>
        <p:nvSpPr>
          <p:cNvPr id="3075" name="shpPlaceholderMain">
            <a:extLst>
              <a:ext uri="{FF2B5EF4-FFF2-40B4-BE49-F238E27FC236}">
                <a16:creationId xmlns:a16="http://schemas.microsoft.com/office/drawing/2014/main" id="{4C710D6C-0000-4FF9-9DF8-E427F071D8E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12234" y="1454151"/>
            <a:ext cx="11163300" cy="460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Edit Master text styles</a:t>
            </a:r>
          </a:p>
          <a:p>
            <a:pPr lvl="1"/>
            <a:r>
              <a:rPr lang="en-GB" altLang="cs-CZ"/>
              <a:t>Second level</a:t>
            </a:r>
          </a:p>
          <a:p>
            <a:pPr lvl="2"/>
            <a:r>
              <a:rPr lang="en-GB" altLang="cs-CZ"/>
              <a:t>Third level</a:t>
            </a:r>
          </a:p>
          <a:p>
            <a:pPr lvl="3"/>
            <a:r>
              <a:rPr lang="en-GB" altLang="cs-CZ"/>
              <a:t>Fourth level</a:t>
            </a:r>
          </a:p>
          <a:p>
            <a:pPr lvl="4"/>
            <a:r>
              <a:rPr lang="en-GB" altLang="cs-CZ"/>
              <a:t>Fifth level</a:t>
            </a:r>
          </a:p>
        </p:txBody>
      </p:sp>
      <p:pic>
        <p:nvPicPr>
          <p:cNvPr id="3076" name="Graphic 11">
            <a:extLst>
              <a:ext uri="{FF2B5EF4-FFF2-40B4-BE49-F238E27FC236}">
                <a16:creationId xmlns:a16="http://schemas.microsoft.com/office/drawing/2014/main" id="{E5C25CB6-C49D-4954-875A-9A3153C9C5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5151" y="388938"/>
            <a:ext cx="924983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A4260C-2012-42EB-A3F4-C3DABCF7B4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2151" y="6319839"/>
            <a:ext cx="678814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ts val="900"/>
              </a:lnSpc>
              <a:defRPr sz="900">
                <a:solidFill>
                  <a:schemeClr val="bg2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189017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Imago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Imago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Imago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Imago" pitchFamily="2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Imago" pitchFamily="2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Imago" pitchFamily="2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Imago" pitchFamily="2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Imago" pitchFamily="2" charset="0"/>
        </a:defRPr>
      </a:lvl9pPr>
    </p:titleStyle>
    <p:bodyStyle>
      <a:lvl1pPr marL="236538" indent="-236538" algn="l" rtl="0" eaLnBrk="0" fontAlgn="base" hangingPunct="0">
        <a:spcBef>
          <a:spcPts val="600"/>
        </a:spcBef>
        <a:spcAft>
          <a:spcPct val="0"/>
        </a:spcAft>
        <a:buClr>
          <a:schemeClr val="bg1"/>
        </a:buClr>
        <a:buSzPct val="100000"/>
        <a:buFont typeface="Wingdings" panose="05000000000000000000" pitchFamily="2" charset="2"/>
        <a:buChar char="§"/>
        <a:defRPr>
          <a:solidFill>
            <a:schemeClr val="bg2"/>
          </a:solidFill>
          <a:latin typeface="+mn-lt"/>
          <a:ea typeface="+mn-ea"/>
          <a:cs typeface="+mn-cs"/>
        </a:defRPr>
      </a:lvl1pPr>
      <a:lvl2pPr marL="533400" indent="-298450" algn="l" rtl="0" eaLnBrk="0" fontAlgn="base" hangingPunct="0">
        <a:spcBef>
          <a:spcPts val="150"/>
        </a:spcBef>
        <a:spcAft>
          <a:spcPct val="0"/>
        </a:spcAft>
        <a:buClr>
          <a:schemeClr val="bg1"/>
        </a:buClr>
        <a:buFont typeface="System Font Regular"/>
        <a:buChar char="—"/>
        <a:defRPr sz="1500">
          <a:solidFill>
            <a:schemeClr val="bg2"/>
          </a:solidFill>
          <a:latin typeface="+mn-lt"/>
        </a:defRPr>
      </a:lvl2pPr>
      <a:lvl3pPr marL="806450" indent="-271463" algn="l" rtl="0" eaLnBrk="0" fontAlgn="base" hangingPunct="0">
        <a:spcBef>
          <a:spcPts val="150"/>
        </a:spcBef>
        <a:spcAft>
          <a:spcPct val="0"/>
        </a:spcAft>
        <a:buClr>
          <a:schemeClr val="bg1"/>
        </a:buClr>
        <a:buFont typeface="System Font Regular"/>
        <a:buChar char="—"/>
        <a:defRPr sz="1300">
          <a:solidFill>
            <a:schemeClr val="bg2"/>
          </a:solidFill>
          <a:latin typeface="+mn-lt"/>
        </a:defRPr>
      </a:lvl3pPr>
      <a:lvl4pPr marL="1069975" indent="-261938" algn="l" rtl="0" eaLnBrk="0" fontAlgn="base" hangingPunct="0">
        <a:spcBef>
          <a:spcPts val="150"/>
        </a:spcBef>
        <a:spcAft>
          <a:spcPct val="0"/>
        </a:spcAft>
        <a:buClr>
          <a:schemeClr val="bg1"/>
        </a:buClr>
        <a:buFont typeface="System Font Regular"/>
        <a:buChar char="—"/>
        <a:defRPr sz="1300">
          <a:solidFill>
            <a:schemeClr val="bg2"/>
          </a:solidFill>
          <a:latin typeface="+mn-lt"/>
        </a:defRPr>
      </a:lvl4pPr>
      <a:lvl5pPr marL="1300163" indent="-228600" algn="l" rtl="0" eaLnBrk="0" fontAlgn="base" hangingPunct="0">
        <a:spcBef>
          <a:spcPts val="150"/>
        </a:spcBef>
        <a:spcAft>
          <a:spcPct val="0"/>
        </a:spcAft>
        <a:buClr>
          <a:schemeClr val="bg1"/>
        </a:buClr>
        <a:buFont typeface="System Font Regular"/>
        <a:buChar char="—"/>
        <a:defRPr sz="1300">
          <a:solidFill>
            <a:schemeClr val="bg2"/>
          </a:solidFill>
          <a:latin typeface="+mn-lt"/>
        </a:defRPr>
      </a:lvl5pPr>
      <a:lvl6pPr marL="1989535" indent="-214313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332435" indent="-214313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675335" indent="-214313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3018235" indent="-214313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EFD10040-C58B-47CB-8720-5B674C34F55D}"/>
              </a:ext>
            </a:extLst>
          </p:cNvPr>
          <p:cNvSpPr/>
          <p:nvPr userDrawn="1"/>
        </p:nvSpPr>
        <p:spPr>
          <a:xfrm>
            <a:off x="10726026" y="6088587"/>
            <a:ext cx="1465974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8609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72961" y="1123836"/>
            <a:ext cx="8466119" cy="48609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29180" y="6292643"/>
            <a:ext cx="53099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i="1">
                <a:solidFill>
                  <a:schemeClr val="tx1"/>
                </a:solidFill>
              </a:defRPr>
            </a:lvl1pPr>
          </a:lstStyle>
          <a:p>
            <a:pPr algn="r"/>
            <a:endParaRPr lang="cs-CZ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EE0DF1F-DCCB-4498-A185-0A6BCFD0BBEE}"/>
              </a:ext>
            </a:extLst>
          </p:cNvPr>
          <p:cNvSpPr txBox="1"/>
          <p:nvPr userDrawn="1"/>
        </p:nvSpPr>
        <p:spPr>
          <a:xfrm>
            <a:off x="252919" y="6336707"/>
            <a:ext cx="13170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>
                <a:solidFill>
                  <a:srgbClr val="242F75"/>
                </a:solidFill>
              </a:rPr>
              <a:t>www.czecrin.cz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F2C5C95-7667-4D17-A961-F16A15045208}"/>
              </a:ext>
            </a:extLst>
          </p:cNvPr>
          <p:cNvSpPr/>
          <p:nvPr userDrawn="1"/>
        </p:nvSpPr>
        <p:spPr>
          <a:xfrm>
            <a:off x="0" y="6088586"/>
            <a:ext cx="10614212" cy="45719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CD1E06DA-324F-4C6E-AD3D-DF8B3E0F69FB}"/>
              </a:ext>
            </a:extLst>
          </p:cNvPr>
          <p:cNvSpPr txBox="1"/>
          <p:nvPr userDrawn="1"/>
        </p:nvSpPr>
        <p:spPr>
          <a:xfrm>
            <a:off x="9213655" y="446695"/>
            <a:ext cx="27254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cs-CZ" sz="1200" b="0" i="1" dirty="0">
                <a:solidFill>
                  <a:srgbClr val="242F75"/>
                </a:solidFill>
              </a:rPr>
              <a:t>… </a:t>
            </a:r>
            <a:r>
              <a:rPr lang="cs-CZ" sz="1200" b="0" i="1" dirty="0" err="1">
                <a:solidFill>
                  <a:srgbClr val="242F75"/>
                </a:solidFill>
              </a:rPr>
              <a:t>towards</a:t>
            </a:r>
            <a:r>
              <a:rPr lang="cs-CZ" sz="1200" b="0" i="1" dirty="0">
                <a:solidFill>
                  <a:srgbClr val="242F75"/>
                </a:solidFill>
              </a:rPr>
              <a:t> </a:t>
            </a:r>
            <a:r>
              <a:rPr lang="cs-CZ" sz="1200" b="0" i="1" dirty="0" err="1">
                <a:solidFill>
                  <a:srgbClr val="242F75"/>
                </a:solidFill>
              </a:rPr>
              <a:t>patient-oriented</a:t>
            </a:r>
            <a:r>
              <a:rPr lang="cs-CZ" sz="1200" b="0" i="1" dirty="0">
                <a:solidFill>
                  <a:srgbClr val="242F75"/>
                </a:solidFill>
              </a:rPr>
              <a:t> </a:t>
            </a:r>
            <a:r>
              <a:rPr lang="cs-CZ" sz="1200" b="0" i="1" dirty="0" err="1">
                <a:solidFill>
                  <a:srgbClr val="242F75"/>
                </a:solidFill>
              </a:rPr>
              <a:t>medicine</a:t>
            </a:r>
            <a:r>
              <a:rPr lang="cs-CZ" sz="1200" b="0" i="1" dirty="0">
                <a:solidFill>
                  <a:srgbClr val="242F75"/>
                </a:solidFill>
              </a:rPr>
              <a:t>!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DAC14E60-4241-4A8D-A6AF-B1380826E8B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860" y="226308"/>
            <a:ext cx="1465975" cy="80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4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242F75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htai.org/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htai.org/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htai.org/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A57E6A9-DC8D-4E05-BE3D-5E38205B8D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0051" y="2006081"/>
            <a:ext cx="10058400" cy="181517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latin typeface="+mn-lt"/>
              </a:rPr>
              <a:t>Využití výstupů platformy GENESIS </a:t>
            </a:r>
            <a:br>
              <a:rPr lang="cs-CZ" sz="3600" dirty="0">
                <a:latin typeface="+mn-lt"/>
              </a:rPr>
            </a:br>
            <a:r>
              <a:rPr lang="cs-CZ" sz="3600" dirty="0">
                <a:latin typeface="+mn-lt"/>
              </a:rPr>
              <a:t>pro </a:t>
            </a:r>
            <a:r>
              <a:rPr lang="cs-CZ" sz="3600" dirty="0" err="1">
                <a:latin typeface="+mn-lt"/>
              </a:rPr>
              <a:t>Outcome-based</a:t>
            </a:r>
            <a:r>
              <a:rPr lang="cs-CZ" sz="3600" dirty="0">
                <a:latin typeface="+mn-lt"/>
              </a:rPr>
              <a:t> modely úhrad inovativních léčiv</a:t>
            </a:r>
            <a:endParaRPr lang="en-GB" sz="3600" dirty="0">
              <a:latin typeface="+mn-lt"/>
            </a:endParaRP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94F3D9-2396-48E0-9E81-ACB451FC52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  <a:latin typeface="+mn-lt"/>
              </a:rPr>
              <a:t>BARBORA Říhová, </a:t>
            </a:r>
            <a:r>
              <a:rPr lang="en-GB" dirty="0">
                <a:solidFill>
                  <a:schemeClr val="bg1"/>
                </a:solidFill>
                <a:latin typeface="+mn-lt"/>
              </a:rPr>
              <a:t>R</a:t>
            </a:r>
            <a:r>
              <a:rPr lang="cs-CZ" dirty="0">
                <a:solidFill>
                  <a:schemeClr val="bg1"/>
                </a:solidFill>
                <a:latin typeface="+mn-lt"/>
              </a:rPr>
              <a:t>EGINA</a:t>
            </a:r>
            <a:r>
              <a:rPr lang="en-GB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+mn-lt"/>
              </a:rPr>
              <a:t>Demlová</a:t>
            </a:r>
            <a:endParaRPr lang="cs-CZ" dirty="0">
              <a:solidFill>
                <a:schemeClr val="bg1"/>
              </a:solidFill>
              <a:latin typeface="+mn-lt"/>
            </a:endParaRPr>
          </a:p>
          <a:p>
            <a:pPr algn="ctr"/>
            <a:r>
              <a:rPr lang="en-GB" dirty="0">
                <a:solidFill>
                  <a:schemeClr val="bg1"/>
                </a:solidFill>
                <a:latin typeface="+mn-lt"/>
              </a:rPr>
              <a:t> </a:t>
            </a:r>
            <a:r>
              <a:rPr lang="cs-CZ" dirty="0">
                <a:solidFill>
                  <a:schemeClr val="bg1"/>
                </a:solidFill>
                <a:latin typeface="+mn-lt"/>
              </a:rPr>
              <a:t>LF MU a MOÚ</a:t>
            </a:r>
          </a:p>
        </p:txBody>
      </p:sp>
      <p:pic>
        <p:nvPicPr>
          <p:cNvPr id="4" name="Obrázek 6">
            <a:extLst>
              <a:ext uri="{FF2B5EF4-FFF2-40B4-BE49-F238E27FC236}">
                <a16:creationId xmlns:a16="http://schemas.microsoft.com/office/drawing/2014/main" id="{364F13B7-E818-4CEA-8F27-DB8D26F3028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844" y="624901"/>
            <a:ext cx="226218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defRPr/>
            </a:pPr>
            <a:r>
              <a:rPr lang="cs-CZ" sz="2000" cap="none" dirty="0">
                <a:solidFill>
                  <a:schemeClr val="bg2"/>
                </a:solidFill>
                <a:cs typeface="Arial" panose="020B0604020202020204" pitchFamily="34" charset="0"/>
              </a:rPr>
              <a:t>www.pharmaround.cz</a:t>
            </a:r>
          </a:p>
        </p:txBody>
      </p:sp>
    </p:spTree>
    <p:extLst>
      <p:ext uri="{BB962C8B-B14F-4D97-AF65-F5344CB8AC3E}">
        <p14:creationId xmlns:p14="http://schemas.microsoft.com/office/powerpoint/2010/main" val="3527184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BA9650F6-7CC3-4EDC-8BDE-03898C514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200" dirty="0"/>
              <a:t>Příklad  </a:t>
            </a:r>
            <a:r>
              <a:rPr lang="cs-CZ" sz="3200" dirty="0" err="1"/>
              <a:t>MEAs</a:t>
            </a:r>
            <a:r>
              <a:rPr lang="cs-CZ" sz="3200" dirty="0"/>
              <a:t> (Itálie, AIFA)</a:t>
            </a:r>
            <a:br>
              <a:rPr lang="cs-CZ" sz="2000" b="1" dirty="0"/>
            </a:br>
            <a:r>
              <a:rPr lang="cs-CZ" sz="2000" dirty="0"/>
              <a:t> </a:t>
            </a:r>
            <a:endParaRPr lang="en-GB" sz="2000" dirty="0"/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65074112-D995-492C-AFF5-C50BAFF59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 </a:t>
            </a:r>
            <a:r>
              <a:rPr lang="cs-CZ" sz="1800" dirty="0"/>
              <a:t>podíl nákladů na léčiva činí 14,85 % celkových nákladů zdravotnictví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800" dirty="0"/>
              <a:t> </a:t>
            </a:r>
            <a:r>
              <a:rPr lang="cs-CZ" sz="1800" b="1" dirty="0"/>
              <a:t>"</a:t>
            </a:r>
            <a:r>
              <a:rPr lang="cs-CZ" sz="1800" b="1" dirty="0" err="1"/>
              <a:t>payment</a:t>
            </a:r>
            <a:r>
              <a:rPr lang="cs-CZ" sz="1800" b="1" dirty="0"/>
              <a:t> by </a:t>
            </a:r>
            <a:r>
              <a:rPr lang="cs-CZ" sz="1800" b="1" dirty="0" err="1"/>
              <a:t>results</a:t>
            </a:r>
            <a:r>
              <a:rPr lang="cs-CZ" sz="1800" b="1" dirty="0"/>
              <a:t>/ </a:t>
            </a:r>
            <a:r>
              <a:rPr lang="cs-CZ" sz="1800" b="1" dirty="0" err="1"/>
              <a:t>outcome</a:t>
            </a:r>
            <a:r>
              <a:rPr lang="cs-CZ" sz="1800" b="1" dirty="0"/>
              <a:t> </a:t>
            </a:r>
            <a:r>
              <a:rPr lang="cs-CZ" sz="1800" b="1" dirty="0" err="1"/>
              <a:t>based</a:t>
            </a:r>
            <a:r>
              <a:rPr lang="cs-CZ" sz="1800" b="1" dirty="0"/>
              <a:t>" (49 % </a:t>
            </a:r>
            <a:r>
              <a:rPr lang="cs-CZ" sz="1800" b="1" dirty="0" err="1"/>
              <a:t>MEAs</a:t>
            </a:r>
            <a:r>
              <a:rPr lang="cs-CZ" sz="1800" b="1" dirty="0"/>
              <a:t>) – u pacientů odpovídajících na léčbu je léčba hrazena z rozpočtu zdravotnictví; u pacientů neodpovídajících na léčbu musí výrobce uhradit plnou výši ceny terapi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800" b="1" dirty="0"/>
              <a:t> „performance-</a:t>
            </a:r>
            <a:r>
              <a:rPr lang="cs-CZ" sz="1800" b="1" dirty="0" err="1"/>
              <a:t>cost</a:t>
            </a:r>
            <a:r>
              <a:rPr lang="cs-CZ" sz="1800" b="1" dirty="0"/>
              <a:t> </a:t>
            </a:r>
            <a:r>
              <a:rPr lang="cs-CZ" sz="1800" b="1" dirty="0" err="1"/>
              <a:t>sharing</a:t>
            </a:r>
            <a:r>
              <a:rPr lang="cs-CZ" sz="1800" b="1" dirty="0"/>
              <a:t>" (32 % </a:t>
            </a:r>
            <a:r>
              <a:rPr lang="cs-CZ" sz="1800" b="1" dirty="0" err="1"/>
              <a:t>MEAs</a:t>
            </a:r>
            <a:r>
              <a:rPr lang="cs-CZ" sz="1800" b="1" dirty="0"/>
              <a:t>) – u pacientů odpovídajících na léčbu je léčba hrazena z rozpočtu zdravotnictví; u pacientů neodpovídajících na léčbu je léčba zastavena, přičemž na první cykly terapie či na celou délku terapie (u pacientů odpovídajících na léčbu) je výrobcem poskytnuta sleva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800" dirty="0"/>
              <a:t> „dose </a:t>
            </a:r>
            <a:r>
              <a:rPr lang="cs-CZ" sz="1800" dirty="0" err="1"/>
              <a:t>capping</a:t>
            </a:r>
            <a:r>
              <a:rPr lang="cs-CZ" sz="1800" dirty="0"/>
              <a:t>" (13 % </a:t>
            </a:r>
            <a:r>
              <a:rPr lang="cs-CZ" sz="1800" dirty="0" err="1"/>
              <a:t>MEAs</a:t>
            </a:r>
            <a:r>
              <a:rPr lang="cs-CZ" sz="1800" dirty="0"/>
              <a:t>) – dohoda o dávkovém </a:t>
            </a:r>
            <a:r>
              <a:rPr lang="cs-CZ" sz="1800" dirty="0" err="1"/>
              <a:t>zastropování</a:t>
            </a:r>
            <a:r>
              <a:rPr lang="cs-CZ" sz="1800" dirty="0"/>
              <a:t> (dose-</a:t>
            </a:r>
            <a:r>
              <a:rPr lang="cs-CZ" sz="1800" dirty="0" err="1"/>
              <a:t>capping</a:t>
            </a:r>
            <a:r>
              <a:rPr lang="cs-CZ" sz="1800" dirty="0"/>
              <a:t> arrangement), kdy náklady na terapii jsou nastaveny na úrovni terapie s použitím nejnižší terapeutické dávk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800" dirty="0"/>
              <a:t>„rozpočtový strop (budget cap)“, který je definovaný během vyjednávání o cenách a úhradách; v případě překročení stropu musí výrobce uhradit zpětně překročenou částku (v roce 2017 zpětné platby činily 235 mil. EUR) </a:t>
            </a:r>
          </a:p>
          <a:p>
            <a:endParaRPr lang="cs-CZ" sz="1800" dirty="0"/>
          </a:p>
          <a:p>
            <a:pPr>
              <a:buFont typeface="Arial" panose="020B0604020202020204" pitchFamily="34" charset="0"/>
              <a:buChar char="•"/>
            </a:pPr>
            <a:endParaRPr lang="cs-CZ" sz="1200" dirty="0"/>
          </a:p>
          <a:p>
            <a:endParaRPr lang="cs-CZ" dirty="0"/>
          </a:p>
        </p:txBody>
      </p:sp>
      <p:sp>
        <p:nvSpPr>
          <p:cNvPr id="5" name="Nadpis 3">
            <a:extLst>
              <a:ext uri="{FF2B5EF4-FFF2-40B4-BE49-F238E27FC236}">
                <a16:creationId xmlns:a16="http://schemas.microsoft.com/office/drawing/2014/main" id="{FFDE39C2-C8CB-42D4-822F-1FB4142DA5AD}"/>
              </a:ext>
            </a:extLst>
          </p:cNvPr>
          <p:cNvSpPr txBox="1">
            <a:spLocks/>
          </p:cNvSpPr>
          <p:nvPr/>
        </p:nvSpPr>
        <p:spPr bwMode="gray">
          <a:xfrm>
            <a:off x="607484" y="321965"/>
            <a:ext cx="1097280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 kern="1200" spc="-50">
                <a:solidFill>
                  <a:srgbClr val="40404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-5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7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</p:spTree>
    <p:extLst>
      <p:ext uri="{BB962C8B-B14F-4D97-AF65-F5344CB8AC3E}">
        <p14:creationId xmlns:p14="http://schemas.microsoft.com/office/powerpoint/2010/main" val="1273376777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BA9650F6-7CC3-4EDC-8BDE-03898C514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200" dirty="0"/>
              <a:t>Příklad  </a:t>
            </a:r>
            <a:r>
              <a:rPr lang="cs-CZ" sz="3200" dirty="0" err="1"/>
              <a:t>MEAs</a:t>
            </a:r>
            <a:r>
              <a:rPr lang="cs-CZ" sz="3200" dirty="0"/>
              <a:t> (Itálie, AIFA)</a:t>
            </a:r>
            <a:br>
              <a:rPr lang="cs-CZ" sz="2000" b="1" dirty="0"/>
            </a:br>
            <a:r>
              <a:rPr lang="cs-CZ" sz="2000" dirty="0"/>
              <a:t> </a:t>
            </a:r>
            <a:endParaRPr lang="en-GB" sz="2000" dirty="0"/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65074112-D995-492C-AFF5-C50BAFF59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 léky s </a:t>
            </a:r>
            <a:r>
              <a:rPr lang="cs-CZ" dirty="0" err="1"/>
              <a:t>MEAs</a:t>
            </a:r>
            <a:r>
              <a:rPr lang="cs-CZ" dirty="0"/>
              <a:t> – pacienti jsou součástí speciálních registrů, které sbírají a analyzují data o účinnosti, bezpečnosti, epidemiologická data </a:t>
            </a:r>
            <a:r>
              <a:rPr lang="cs-CZ" dirty="0" err="1"/>
              <a:t>etc</a:t>
            </a:r>
            <a:r>
              <a:rPr lang="cs-CZ" dirty="0"/>
              <a:t>. – výstupy z registrů je možné použít pro další stanovování cen a úhrad a pro vyjednávání o cenách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 mezi výhody OBA </a:t>
            </a:r>
            <a:r>
              <a:rPr lang="cs-CZ" dirty="0" err="1"/>
              <a:t>MEAs</a:t>
            </a:r>
            <a:r>
              <a:rPr lang="cs-CZ" dirty="0"/>
              <a:t> patří např. zajištění úhrady pro inovativní léky; individualizace u pacientů bez odpovědi; sběr RWD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 mezi nevýhody OBA </a:t>
            </a:r>
            <a:r>
              <a:rPr lang="cs-CZ" dirty="0" err="1"/>
              <a:t>MEAs</a:t>
            </a:r>
            <a:r>
              <a:rPr lang="cs-CZ" dirty="0"/>
              <a:t> patří např. složitost implementace a aktivace nových registrů; zvýšení administrativní zátěže pro pracovníky ve zdravotnictví; kolísání kvality dat, která závisí na </a:t>
            </a:r>
            <a:r>
              <a:rPr lang="cs-CZ" dirty="0" err="1"/>
              <a:t>compliance</a:t>
            </a:r>
            <a:r>
              <a:rPr lang="cs-CZ" dirty="0"/>
              <a:t> pracovníků; vysoké množství nově budovaných registrů </a:t>
            </a:r>
            <a:endParaRPr lang="en-GB" dirty="0"/>
          </a:p>
        </p:txBody>
      </p:sp>
      <p:sp>
        <p:nvSpPr>
          <p:cNvPr id="5" name="Nadpis 3">
            <a:extLst>
              <a:ext uri="{FF2B5EF4-FFF2-40B4-BE49-F238E27FC236}">
                <a16:creationId xmlns:a16="http://schemas.microsoft.com/office/drawing/2014/main" id="{FFDE39C2-C8CB-42D4-822F-1FB4142DA5AD}"/>
              </a:ext>
            </a:extLst>
          </p:cNvPr>
          <p:cNvSpPr txBox="1">
            <a:spLocks/>
          </p:cNvSpPr>
          <p:nvPr/>
        </p:nvSpPr>
        <p:spPr bwMode="gray">
          <a:xfrm>
            <a:off x="607484" y="321965"/>
            <a:ext cx="1097280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 kern="1200" spc="-50">
                <a:solidFill>
                  <a:srgbClr val="40404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-5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7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  <p:pic>
        <p:nvPicPr>
          <p:cNvPr id="8" name="Obráze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4643" y="5756155"/>
            <a:ext cx="226218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6917559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DD6C5F5-00CD-4BC0-8810-E7F537BBA2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6433" y="745730"/>
            <a:ext cx="10058400" cy="747715"/>
          </a:xfrm>
        </p:spPr>
        <p:txBody>
          <a:bodyPr>
            <a:normAutofit/>
          </a:bodyPr>
          <a:lstStyle/>
          <a:p>
            <a:pPr algn="ctr"/>
            <a:r>
              <a:rPr lang="cs-CZ" sz="3200" dirty="0"/>
              <a:t>„Learning </a:t>
            </a:r>
            <a:r>
              <a:rPr lang="cs-CZ" sz="3200" dirty="0" err="1"/>
              <a:t>Healthcare</a:t>
            </a:r>
            <a:r>
              <a:rPr lang="cs-CZ" sz="3200" dirty="0"/>
              <a:t> </a:t>
            </a:r>
            <a:r>
              <a:rPr lang="cs-CZ" sz="3200" dirty="0" err="1"/>
              <a:t>System</a:t>
            </a:r>
            <a:r>
              <a:rPr lang="cs-CZ" sz="3200" dirty="0"/>
              <a:t>“</a:t>
            </a:r>
            <a:endParaRPr lang="en-GB" sz="3200" dirty="0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8DC1BF58-0B28-4860-9C72-474325B726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 Systém se učí na základě sběru a vyhodnocování dat o léčbě pacientů v reálné prax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 Nutná spolupráce klíčových </a:t>
            </a:r>
            <a:r>
              <a:rPr lang="cs-CZ" dirty="0" err="1"/>
              <a:t>stakeholders</a:t>
            </a:r>
            <a:r>
              <a:rPr lang="cs-CZ" dirty="0"/>
              <a:t> a připravenost pro využívání výstupů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 Přínos mají akademická i neziskové organizace – nové algoritmy, metodik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 Příklad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cs-CZ" dirty="0"/>
              <a:t>Izrael – práce s </a:t>
            </a:r>
            <a:r>
              <a:rPr lang="cs-CZ" dirty="0" err="1"/>
              <a:t>real</a:t>
            </a:r>
            <a:r>
              <a:rPr lang="cs-CZ" dirty="0"/>
              <a:t> </a:t>
            </a:r>
            <a:r>
              <a:rPr lang="cs-CZ" dirty="0" err="1"/>
              <a:t>world</a:t>
            </a:r>
            <a:r>
              <a:rPr lang="cs-CZ" dirty="0"/>
              <a:t> data – neziskový fond </a:t>
            </a:r>
            <a:r>
              <a:rPr lang="cs-CZ" dirty="0" err="1"/>
              <a:t>Clalit</a:t>
            </a:r>
            <a:endParaRPr lang="cs-C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cs-CZ" dirty="0"/>
              <a:t>USA – „</a:t>
            </a:r>
            <a:r>
              <a:rPr lang="cs-CZ" dirty="0" err="1"/>
              <a:t>Financing</a:t>
            </a:r>
            <a:r>
              <a:rPr lang="cs-CZ" dirty="0"/>
              <a:t> and </a:t>
            </a:r>
            <a:r>
              <a:rPr lang="cs-CZ" dirty="0" err="1"/>
              <a:t>Reimbursement</a:t>
            </a:r>
            <a:r>
              <a:rPr lang="cs-CZ" dirty="0"/>
              <a:t> </a:t>
            </a:r>
            <a:r>
              <a:rPr lang="cs-CZ" dirty="0" err="1"/>
              <a:t>of</a:t>
            </a:r>
            <a:r>
              <a:rPr lang="cs-CZ" dirty="0"/>
              <a:t> </a:t>
            </a:r>
            <a:r>
              <a:rPr lang="cs-CZ" dirty="0" err="1"/>
              <a:t>Cures</a:t>
            </a:r>
            <a:r>
              <a:rPr lang="cs-CZ" dirty="0"/>
              <a:t> in </a:t>
            </a:r>
            <a:r>
              <a:rPr lang="cs-CZ" dirty="0" err="1"/>
              <a:t>the</a:t>
            </a:r>
            <a:r>
              <a:rPr lang="cs-CZ" dirty="0"/>
              <a:t> US (</a:t>
            </a:r>
            <a:r>
              <a:rPr lang="cs-CZ" dirty="0" err="1"/>
              <a:t>FoCUS</a:t>
            </a:r>
            <a:r>
              <a:rPr lang="cs-CZ" dirty="0"/>
              <a:t>)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 err="1"/>
              <a:t>tzv</a:t>
            </a:r>
            <a:r>
              <a:rPr lang="cs-CZ" dirty="0"/>
              <a:t> „design </a:t>
            </a:r>
            <a:r>
              <a:rPr lang="cs-CZ" dirty="0" err="1"/>
              <a:t>labs</a:t>
            </a:r>
            <a:r>
              <a:rPr lang="cs-CZ" dirty="0"/>
              <a:t>“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Zástupci výrobců, pacientů, plátců, poskytovatelů péče, regulátorů a legislativy</a:t>
            </a:r>
          </a:p>
          <a:p>
            <a:endParaRPr lang="cs-CZ" dirty="0"/>
          </a:p>
          <a:p>
            <a:endParaRPr lang="en-GB" dirty="0"/>
          </a:p>
        </p:txBody>
      </p:sp>
      <p:sp>
        <p:nvSpPr>
          <p:cNvPr id="4" name="Podnadpis 2">
            <a:extLst>
              <a:ext uri="{FF2B5EF4-FFF2-40B4-BE49-F238E27FC236}">
                <a16:creationId xmlns:a16="http://schemas.microsoft.com/office/drawing/2014/main" id="{A8906C80-399F-455D-BE1D-E95C9B7BC2E4}"/>
              </a:ext>
            </a:extLst>
          </p:cNvPr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</p:spTree>
    <p:extLst>
      <p:ext uri="{BB962C8B-B14F-4D97-AF65-F5344CB8AC3E}">
        <p14:creationId xmlns:p14="http://schemas.microsoft.com/office/powerpoint/2010/main" val="2570148313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kupina 1">
            <a:extLst>
              <a:ext uri="{FF2B5EF4-FFF2-40B4-BE49-F238E27FC236}">
                <a16:creationId xmlns:a16="http://schemas.microsoft.com/office/drawing/2014/main" id="{9D4D5C30-1AFF-4CF4-9365-4149337B6B76}"/>
              </a:ext>
            </a:extLst>
          </p:cNvPr>
          <p:cNvGrpSpPr/>
          <p:nvPr/>
        </p:nvGrpSpPr>
        <p:grpSpPr>
          <a:xfrm>
            <a:off x="2563221" y="396328"/>
            <a:ext cx="7993857" cy="6156782"/>
            <a:chOff x="2563221" y="396328"/>
            <a:chExt cx="7993857" cy="6156782"/>
          </a:xfrm>
        </p:grpSpPr>
        <p:sp>
          <p:nvSpPr>
            <p:cNvPr id="3" name="Volný tvar: obrazec 2">
              <a:extLst>
                <a:ext uri="{FF2B5EF4-FFF2-40B4-BE49-F238E27FC236}">
                  <a16:creationId xmlns:a16="http://schemas.microsoft.com/office/drawing/2014/main" id="{C42DD38E-6D14-40BF-9D94-7658456637EA}"/>
                </a:ext>
              </a:extLst>
            </p:cNvPr>
            <p:cNvSpPr/>
            <p:nvPr/>
          </p:nvSpPr>
          <p:spPr>
            <a:xfrm>
              <a:off x="4898853" y="1043049"/>
              <a:ext cx="1661296" cy="55648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661296" y="0"/>
                  </a:moveTo>
                  <a:lnTo>
                    <a:pt x="0" y="556483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" name="Volný tvar: obrazec 3">
              <a:extLst>
                <a:ext uri="{FF2B5EF4-FFF2-40B4-BE49-F238E27FC236}">
                  <a16:creationId xmlns:a16="http://schemas.microsoft.com/office/drawing/2014/main" id="{434CB7D7-8FF3-4944-8E3C-8B84DC4E3941}"/>
                </a:ext>
              </a:extLst>
            </p:cNvPr>
            <p:cNvSpPr/>
            <p:nvPr/>
          </p:nvSpPr>
          <p:spPr>
            <a:xfrm>
              <a:off x="6720828" y="2879736"/>
              <a:ext cx="181393" cy="243167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81393" y="0"/>
                  </a:moveTo>
                  <a:lnTo>
                    <a:pt x="0" y="2431670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" name="Volný tvar: obrazec 4">
              <a:extLst>
                <a:ext uri="{FF2B5EF4-FFF2-40B4-BE49-F238E27FC236}">
                  <a16:creationId xmlns:a16="http://schemas.microsoft.com/office/drawing/2014/main" id="{206433DA-95A7-466D-B836-B2822B8B1304}"/>
                </a:ext>
              </a:extLst>
            </p:cNvPr>
            <p:cNvSpPr/>
            <p:nvPr/>
          </p:nvSpPr>
          <p:spPr>
            <a:xfrm>
              <a:off x="6720828" y="2879736"/>
              <a:ext cx="181393" cy="151332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81393" y="0"/>
                  </a:moveTo>
                  <a:lnTo>
                    <a:pt x="0" y="1513326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Volný tvar: obrazec 5">
              <a:extLst>
                <a:ext uri="{FF2B5EF4-FFF2-40B4-BE49-F238E27FC236}">
                  <a16:creationId xmlns:a16="http://schemas.microsoft.com/office/drawing/2014/main" id="{E5AB175A-AAFF-4A80-8184-3B932F471C37}"/>
                </a:ext>
              </a:extLst>
            </p:cNvPr>
            <p:cNvSpPr/>
            <p:nvPr/>
          </p:nvSpPr>
          <p:spPr>
            <a:xfrm>
              <a:off x="6720828" y="2879736"/>
              <a:ext cx="181393" cy="59498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81393" y="0"/>
                  </a:moveTo>
                  <a:lnTo>
                    <a:pt x="0" y="594983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Volný tvar: obrazec 6">
              <a:extLst>
                <a:ext uri="{FF2B5EF4-FFF2-40B4-BE49-F238E27FC236}">
                  <a16:creationId xmlns:a16="http://schemas.microsoft.com/office/drawing/2014/main" id="{50081848-40CE-46C5-AE78-BF5847AE5552}"/>
                </a:ext>
              </a:extLst>
            </p:cNvPr>
            <p:cNvSpPr/>
            <p:nvPr/>
          </p:nvSpPr>
          <p:spPr>
            <a:xfrm>
              <a:off x="6560150" y="1043049"/>
              <a:ext cx="1167111" cy="118996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1054154"/>
                  </a:lnTo>
                  <a:lnTo>
                    <a:pt x="1167111" y="1054154"/>
                  </a:lnTo>
                  <a:lnTo>
                    <a:pt x="1167111" y="1189966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Volný tvar: obrazec 17">
              <a:extLst>
                <a:ext uri="{FF2B5EF4-FFF2-40B4-BE49-F238E27FC236}">
                  <a16:creationId xmlns:a16="http://schemas.microsoft.com/office/drawing/2014/main" id="{15E35577-F7EA-4C4C-96BC-36CB247F30E0}"/>
                </a:ext>
              </a:extLst>
            </p:cNvPr>
            <p:cNvSpPr/>
            <p:nvPr/>
          </p:nvSpPr>
          <p:spPr>
            <a:xfrm>
              <a:off x="4386605" y="2879736"/>
              <a:ext cx="181393" cy="335001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81393" y="0"/>
                  </a:moveTo>
                  <a:lnTo>
                    <a:pt x="0" y="3350014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Volný tvar: obrazec 18">
              <a:extLst>
                <a:ext uri="{FF2B5EF4-FFF2-40B4-BE49-F238E27FC236}">
                  <a16:creationId xmlns:a16="http://schemas.microsoft.com/office/drawing/2014/main" id="{68EE7937-B09F-480B-BC8B-FD810437119C}"/>
                </a:ext>
              </a:extLst>
            </p:cNvPr>
            <p:cNvSpPr/>
            <p:nvPr/>
          </p:nvSpPr>
          <p:spPr>
            <a:xfrm>
              <a:off x="4386605" y="2879736"/>
              <a:ext cx="181393" cy="243167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81393" y="0"/>
                  </a:moveTo>
                  <a:lnTo>
                    <a:pt x="0" y="2431670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Volný tvar: obrazec 19">
              <a:extLst>
                <a:ext uri="{FF2B5EF4-FFF2-40B4-BE49-F238E27FC236}">
                  <a16:creationId xmlns:a16="http://schemas.microsoft.com/office/drawing/2014/main" id="{7C3697E5-99A8-4D3E-BB7E-1DA6C333EFE2}"/>
                </a:ext>
              </a:extLst>
            </p:cNvPr>
            <p:cNvSpPr/>
            <p:nvPr/>
          </p:nvSpPr>
          <p:spPr>
            <a:xfrm>
              <a:off x="4386605" y="2879736"/>
              <a:ext cx="181393" cy="151332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81393" y="0"/>
                  </a:moveTo>
                  <a:lnTo>
                    <a:pt x="0" y="1513326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Volný tvar: obrazec 20">
              <a:extLst>
                <a:ext uri="{FF2B5EF4-FFF2-40B4-BE49-F238E27FC236}">
                  <a16:creationId xmlns:a16="http://schemas.microsoft.com/office/drawing/2014/main" id="{4C1BEDB2-341C-435A-9799-C9BC505B9034}"/>
                </a:ext>
              </a:extLst>
            </p:cNvPr>
            <p:cNvSpPr/>
            <p:nvPr/>
          </p:nvSpPr>
          <p:spPr>
            <a:xfrm>
              <a:off x="4386605" y="2879736"/>
              <a:ext cx="181393" cy="59498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81393" y="0"/>
                  </a:moveTo>
                  <a:lnTo>
                    <a:pt x="0" y="594983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Volný tvar: obrazec 21">
              <a:extLst>
                <a:ext uri="{FF2B5EF4-FFF2-40B4-BE49-F238E27FC236}">
                  <a16:creationId xmlns:a16="http://schemas.microsoft.com/office/drawing/2014/main" id="{91CC1777-E475-4F23-9257-BA597FBBC3C6}"/>
                </a:ext>
              </a:extLst>
            </p:cNvPr>
            <p:cNvSpPr/>
            <p:nvPr/>
          </p:nvSpPr>
          <p:spPr>
            <a:xfrm>
              <a:off x="5393039" y="1043049"/>
              <a:ext cx="1167111" cy="118996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1167111" y="0"/>
                  </a:moveTo>
                  <a:lnTo>
                    <a:pt x="1167111" y="1054154"/>
                  </a:lnTo>
                  <a:lnTo>
                    <a:pt x="0" y="1054154"/>
                  </a:lnTo>
                  <a:lnTo>
                    <a:pt x="0" y="1189966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Volný tvar: obrazec 22">
              <a:extLst>
                <a:ext uri="{FF2B5EF4-FFF2-40B4-BE49-F238E27FC236}">
                  <a16:creationId xmlns:a16="http://schemas.microsoft.com/office/drawing/2014/main" id="{65968F04-514C-4CB8-B021-8AA07493D298}"/>
                </a:ext>
              </a:extLst>
            </p:cNvPr>
            <p:cNvSpPr/>
            <p:nvPr/>
          </p:nvSpPr>
          <p:spPr>
            <a:xfrm>
              <a:off x="2563221" y="396328"/>
              <a:ext cx="7993857" cy="646720"/>
            </a:xfrm>
            <a:custGeom>
              <a:avLst/>
              <a:gdLst>
                <a:gd name="connsiteX0" fmla="*/ 0 w 7993857"/>
                <a:gd name="connsiteY0" fmla="*/ 107789 h 646720"/>
                <a:gd name="connsiteX1" fmla="*/ 107789 w 7993857"/>
                <a:gd name="connsiteY1" fmla="*/ 0 h 646720"/>
                <a:gd name="connsiteX2" fmla="*/ 7886068 w 7993857"/>
                <a:gd name="connsiteY2" fmla="*/ 0 h 646720"/>
                <a:gd name="connsiteX3" fmla="*/ 7993857 w 7993857"/>
                <a:gd name="connsiteY3" fmla="*/ 107789 h 646720"/>
                <a:gd name="connsiteX4" fmla="*/ 7993857 w 7993857"/>
                <a:gd name="connsiteY4" fmla="*/ 538931 h 646720"/>
                <a:gd name="connsiteX5" fmla="*/ 7886068 w 7993857"/>
                <a:gd name="connsiteY5" fmla="*/ 646720 h 646720"/>
                <a:gd name="connsiteX6" fmla="*/ 107789 w 7993857"/>
                <a:gd name="connsiteY6" fmla="*/ 646720 h 646720"/>
                <a:gd name="connsiteX7" fmla="*/ 0 w 7993857"/>
                <a:gd name="connsiteY7" fmla="*/ 538931 h 646720"/>
                <a:gd name="connsiteX8" fmla="*/ 0 w 7993857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93857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7886068" y="0"/>
                  </a:lnTo>
                  <a:cubicBezTo>
                    <a:pt x="7945598" y="0"/>
                    <a:pt x="7993857" y="48259"/>
                    <a:pt x="7993857" y="107789"/>
                  </a:cubicBezTo>
                  <a:lnTo>
                    <a:pt x="7993857" y="538931"/>
                  </a:lnTo>
                  <a:cubicBezTo>
                    <a:pt x="7993857" y="598461"/>
                    <a:pt x="7945598" y="646720"/>
                    <a:pt x="7886068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28575">
              <a:solidFill>
                <a:schemeClr val="accent3">
                  <a:lumMod val="1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1730" tIns="41730" rIns="41730" bIns="4173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ZECRIN </a:t>
              </a:r>
              <a:r>
                <a:rPr kumimoji="0" lang="cs-CZ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isease</a:t>
              </a: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</a:t>
              </a:r>
              <a:r>
                <a:rPr kumimoji="0" lang="cs-CZ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riented</a:t>
              </a: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Network </a:t>
              </a:r>
            </a:p>
          </p:txBody>
        </p:sp>
        <p:sp>
          <p:nvSpPr>
            <p:cNvPr id="24" name="Volný tvar: obrazec 23">
              <a:extLst>
                <a:ext uri="{FF2B5EF4-FFF2-40B4-BE49-F238E27FC236}">
                  <a16:creationId xmlns:a16="http://schemas.microsoft.com/office/drawing/2014/main" id="{4A99117E-F3AE-4331-9CDF-47F6B4677CD1}"/>
                </a:ext>
              </a:extLst>
            </p:cNvPr>
            <p:cNvSpPr/>
            <p:nvPr/>
          </p:nvSpPr>
          <p:spPr>
            <a:xfrm>
              <a:off x="4361739" y="2233015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NUSA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UDr. Jana Katolická, Ph.D.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5" name="Volný tvar: obrazec 24">
              <a:extLst>
                <a:ext uri="{FF2B5EF4-FFF2-40B4-BE49-F238E27FC236}">
                  <a16:creationId xmlns:a16="http://schemas.microsoft.com/office/drawing/2014/main" id="{43E2F930-325D-4F9F-B309-67FB6F7C6659}"/>
                </a:ext>
              </a:extLst>
            </p:cNvPr>
            <p:cNvSpPr/>
            <p:nvPr/>
          </p:nvSpPr>
          <p:spPr>
            <a:xfrm>
              <a:off x="4386605" y="3151359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N OSTRAVA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oc. MUDr. Ing. Jakub </a:t>
              </a: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vek</a:t>
              </a: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, Ph.D.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Volný tvar: obrazec 25">
              <a:extLst>
                <a:ext uri="{FF2B5EF4-FFF2-40B4-BE49-F238E27FC236}">
                  <a16:creationId xmlns:a16="http://schemas.microsoft.com/office/drawing/2014/main" id="{DBE1F480-813A-4579-850D-6002E776FBD8}"/>
                </a:ext>
              </a:extLst>
            </p:cNvPr>
            <p:cNvSpPr/>
            <p:nvPr/>
          </p:nvSpPr>
          <p:spPr>
            <a:xfrm>
              <a:off x="4386605" y="4069703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N MOTOL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oc. MUDr. Jana Prausová, Ph.D</a:t>
              </a: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.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970F1646-A0C9-4478-85D2-3FDAB02DA133}"/>
                </a:ext>
              </a:extLst>
            </p:cNvPr>
            <p:cNvSpPr/>
            <p:nvPr/>
          </p:nvSpPr>
          <p:spPr>
            <a:xfrm>
              <a:off x="4386605" y="4988046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N KRÁLOVSKÉ VINOHRADY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f. MUDr. Renata Soumarová, Ph.D</a:t>
              </a: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.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8" name="Volný tvar: obrazec 27">
              <a:extLst>
                <a:ext uri="{FF2B5EF4-FFF2-40B4-BE49-F238E27FC236}">
                  <a16:creationId xmlns:a16="http://schemas.microsoft.com/office/drawing/2014/main" id="{B00D5E0B-8C33-45DC-B0CF-33131CEAA3A9}"/>
                </a:ext>
              </a:extLst>
            </p:cNvPr>
            <p:cNvSpPr/>
            <p:nvPr/>
          </p:nvSpPr>
          <p:spPr>
            <a:xfrm>
              <a:off x="4386605" y="5906390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solidFill>
              <a:schemeClr val="bg1"/>
            </a:solidFill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N PLZEŇ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f. MUDr. Jindřich Finek, Ph.D</a:t>
              </a: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.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Volný tvar: obrazec 28">
              <a:extLst>
                <a:ext uri="{FF2B5EF4-FFF2-40B4-BE49-F238E27FC236}">
                  <a16:creationId xmlns:a16="http://schemas.microsoft.com/office/drawing/2014/main" id="{0E149218-0E14-4AA0-8C10-B380D96AC7B3}"/>
                </a:ext>
              </a:extLst>
            </p:cNvPr>
            <p:cNvSpPr/>
            <p:nvPr/>
          </p:nvSpPr>
          <p:spPr>
            <a:xfrm>
              <a:off x="6695961" y="2233015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N BRNO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UDr. Michal </a:t>
              </a: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Eid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0" name="Volný tvar: obrazec 29">
              <a:extLst>
                <a:ext uri="{FF2B5EF4-FFF2-40B4-BE49-F238E27FC236}">
                  <a16:creationId xmlns:a16="http://schemas.microsoft.com/office/drawing/2014/main" id="{7152FDB6-1E97-4A35-889B-8BB42B4C33F8}"/>
                </a:ext>
              </a:extLst>
            </p:cNvPr>
            <p:cNvSpPr/>
            <p:nvPr/>
          </p:nvSpPr>
          <p:spPr>
            <a:xfrm>
              <a:off x="6720828" y="3151359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N HRADEC KRÁLOVÉ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f. MUDr. Jiří Petera, Ph.D.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Volný tvar: obrazec 30">
              <a:extLst>
                <a:ext uri="{FF2B5EF4-FFF2-40B4-BE49-F238E27FC236}">
                  <a16:creationId xmlns:a16="http://schemas.microsoft.com/office/drawing/2014/main" id="{03F00354-53CB-43BF-AD2A-7E8DC426286E}"/>
                </a:ext>
              </a:extLst>
            </p:cNvPr>
            <p:cNvSpPr/>
            <p:nvPr/>
          </p:nvSpPr>
          <p:spPr>
            <a:xfrm>
              <a:off x="6720828" y="4069703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VFN PRAHA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f. MUDr. Luboš </a:t>
              </a: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etruželka</a:t>
              </a: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, </a:t>
              </a: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Sc</a:t>
              </a: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.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Volný tvar: obrazec 31">
              <a:extLst>
                <a:ext uri="{FF2B5EF4-FFF2-40B4-BE49-F238E27FC236}">
                  <a16:creationId xmlns:a16="http://schemas.microsoft.com/office/drawing/2014/main" id="{BF035C4F-39B8-4042-A30F-495BE4CB0A84}"/>
                </a:ext>
              </a:extLst>
            </p:cNvPr>
            <p:cNvSpPr/>
            <p:nvPr/>
          </p:nvSpPr>
          <p:spPr>
            <a:xfrm>
              <a:off x="6720828" y="4988046"/>
              <a:ext cx="2062599" cy="646720"/>
            </a:xfrm>
            <a:custGeom>
              <a:avLst/>
              <a:gdLst>
                <a:gd name="connsiteX0" fmla="*/ 0 w 2062599"/>
                <a:gd name="connsiteY0" fmla="*/ 107789 h 646720"/>
                <a:gd name="connsiteX1" fmla="*/ 107789 w 2062599"/>
                <a:gd name="connsiteY1" fmla="*/ 0 h 646720"/>
                <a:gd name="connsiteX2" fmla="*/ 1954810 w 2062599"/>
                <a:gd name="connsiteY2" fmla="*/ 0 h 646720"/>
                <a:gd name="connsiteX3" fmla="*/ 2062599 w 2062599"/>
                <a:gd name="connsiteY3" fmla="*/ 107789 h 646720"/>
                <a:gd name="connsiteX4" fmla="*/ 2062599 w 2062599"/>
                <a:gd name="connsiteY4" fmla="*/ 538931 h 646720"/>
                <a:gd name="connsiteX5" fmla="*/ 1954810 w 2062599"/>
                <a:gd name="connsiteY5" fmla="*/ 646720 h 646720"/>
                <a:gd name="connsiteX6" fmla="*/ 107789 w 2062599"/>
                <a:gd name="connsiteY6" fmla="*/ 646720 h 646720"/>
                <a:gd name="connsiteX7" fmla="*/ 0 w 2062599"/>
                <a:gd name="connsiteY7" fmla="*/ 538931 h 646720"/>
                <a:gd name="connsiteX8" fmla="*/ 0 w 2062599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62599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1954810" y="0"/>
                  </a:lnTo>
                  <a:cubicBezTo>
                    <a:pt x="2014340" y="0"/>
                    <a:pt x="2062599" y="48259"/>
                    <a:pt x="2062599" y="107789"/>
                  </a:cubicBezTo>
                  <a:lnTo>
                    <a:pt x="2062599" y="538931"/>
                  </a:lnTo>
                  <a:cubicBezTo>
                    <a:pt x="2062599" y="598461"/>
                    <a:pt x="2014340" y="646720"/>
                    <a:pt x="1954810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THOMAYEROVA NEMOCNICE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oc. MUDr. Tomáš </a:t>
              </a: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Buchler</a:t>
              </a: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, Ph.D</a:t>
              </a:r>
              <a:r>
                <a:rPr kumimoji="0" lang="fi-FI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.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3" name="Volný tvar: obrazec 32">
              <a:extLst>
                <a:ext uri="{FF2B5EF4-FFF2-40B4-BE49-F238E27FC236}">
                  <a16:creationId xmlns:a16="http://schemas.microsoft.com/office/drawing/2014/main" id="{5DE603BF-EEFE-4CD5-8DE1-B9000FEDF410}"/>
                </a:ext>
              </a:extLst>
            </p:cNvPr>
            <p:cNvSpPr/>
            <p:nvPr/>
          </p:nvSpPr>
          <p:spPr>
            <a:xfrm>
              <a:off x="4898853" y="1276173"/>
              <a:ext cx="3363918" cy="646720"/>
            </a:xfrm>
            <a:custGeom>
              <a:avLst/>
              <a:gdLst>
                <a:gd name="connsiteX0" fmla="*/ 0 w 3363918"/>
                <a:gd name="connsiteY0" fmla="*/ 107789 h 646720"/>
                <a:gd name="connsiteX1" fmla="*/ 107789 w 3363918"/>
                <a:gd name="connsiteY1" fmla="*/ 0 h 646720"/>
                <a:gd name="connsiteX2" fmla="*/ 3256129 w 3363918"/>
                <a:gd name="connsiteY2" fmla="*/ 0 h 646720"/>
                <a:gd name="connsiteX3" fmla="*/ 3363918 w 3363918"/>
                <a:gd name="connsiteY3" fmla="*/ 107789 h 646720"/>
                <a:gd name="connsiteX4" fmla="*/ 3363918 w 3363918"/>
                <a:gd name="connsiteY4" fmla="*/ 538931 h 646720"/>
                <a:gd name="connsiteX5" fmla="*/ 3256129 w 3363918"/>
                <a:gd name="connsiteY5" fmla="*/ 646720 h 646720"/>
                <a:gd name="connsiteX6" fmla="*/ 107789 w 3363918"/>
                <a:gd name="connsiteY6" fmla="*/ 646720 h 646720"/>
                <a:gd name="connsiteX7" fmla="*/ 0 w 3363918"/>
                <a:gd name="connsiteY7" fmla="*/ 538931 h 646720"/>
                <a:gd name="connsiteX8" fmla="*/ 0 w 3363918"/>
                <a:gd name="connsiteY8" fmla="*/ 107789 h 646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3918" h="646720">
                  <a:moveTo>
                    <a:pt x="0" y="107789"/>
                  </a:moveTo>
                  <a:cubicBezTo>
                    <a:pt x="0" y="48259"/>
                    <a:pt x="48259" y="0"/>
                    <a:pt x="107789" y="0"/>
                  </a:cubicBezTo>
                  <a:lnTo>
                    <a:pt x="3256129" y="0"/>
                  </a:lnTo>
                  <a:cubicBezTo>
                    <a:pt x="3315659" y="0"/>
                    <a:pt x="3363918" y="48259"/>
                    <a:pt x="3363918" y="107789"/>
                  </a:cubicBezTo>
                  <a:lnTo>
                    <a:pt x="3363918" y="538931"/>
                  </a:lnTo>
                  <a:cubicBezTo>
                    <a:pt x="3363918" y="598461"/>
                    <a:pt x="3315659" y="646720"/>
                    <a:pt x="3256129" y="646720"/>
                  </a:cubicBezTo>
                  <a:lnTo>
                    <a:pt x="107789" y="646720"/>
                  </a:lnTo>
                  <a:cubicBezTo>
                    <a:pt x="48259" y="646720"/>
                    <a:pt x="0" y="598461"/>
                    <a:pt x="0" y="538931"/>
                  </a:cubicBezTo>
                  <a:lnTo>
                    <a:pt x="0" y="107789"/>
                  </a:lnTo>
                  <a:close/>
                </a:path>
              </a:pathLst>
            </a:custGeom>
            <a:noFill/>
            <a:ln w="285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555" tIns="38555" rIns="38555" bIns="3855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ZECRIN</a:t>
              </a:r>
              <a:r>
                <a:rPr kumimoji="0" lang="cs-CZ" sz="11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ONCO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242F75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UDr. Radka Obermannová, Ph.D., MOÚ</a:t>
              </a:r>
            </a:p>
          </p:txBody>
        </p:sp>
      </p:grpSp>
      <p:grpSp>
        <p:nvGrpSpPr>
          <p:cNvPr id="9" name="Skupina 8">
            <a:extLst>
              <a:ext uri="{FF2B5EF4-FFF2-40B4-BE49-F238E27FC236}">
                <a16:creationId xmlns:a16="http://schemas.microsoft.com/office/drawing/2014/main" id="{9112C221-CF06-42E2-B717-824C59A9992C}"/>
              </a:ext>
            </a:extLst>
          </p:cNvPr>
          <p:cNvGrpSpPr/>
          <p:nvPr/>
        </p:nvGrpSpPr>
        <p:grpSpPr>
          <a:xfrm>
            <a:off x="2585478" y="1301589"/>
            <a:ext cx="2062599" cy="646720"/>
            <a:chOff x="4663962" y="1838379"/>
            <a:chExt cx="2062599" cy="646720"/>
          </a:xfrm>
        </p:grpSpPr>
        <p:sp>
          <p:nvSpPr>
            <p:cNvPr id="10" name="Obdélník: se zakulacenými rohy 9">
              <a:extLst>
                <a:ext uri="{FF2B5EF4-FFF2-40B4-BE49-F238E27FC236}">
                  <a16:creationId xmlns:a16="http://schemas.microsoft.com/office/drawing/2014/main" id="{BD6D639B-5C53-4A4C-8133-63530466888B}"/>
                </a:ext>
              </a:extLst>
            </p:cNvPr>
            <p:cNvSpPr/>
            <p:nvPr/>
          </p:nvSpPr>
          <p:spPr>
            <a:xfrm>
              <a:off x="4663962" y="1838379"/>
              <a:ext cx="2062599" cy="646720"/>
            </a:xfrm>
            <a:prstGeom prst="roundRect">
              <a:avLst/>
            </a:prstGeom>
            <a:noFill/>
            <a:ln w="317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Obdélník: se zakulacenými rohy 4">
              <a:extLst>
                <a:ext uri="{FF2B5EF4-FFF2-40B4-BE49-F238E27FC236}">
                  <a16:creationId xmlns:a16="http://schemas.microsoft.com/office/drawing/2014/main" id="{489D1E83-8138-4E6A-B864-FAB83EC83BFC}"/>
                </a:ext>
              </a:extLst>
            </p:cNvPr>
            <p:cNvSpPr txBox="1"/>
            <p:nvPr/>
          </p:nvSpPr>
          <p:spPr>
            <a:xfrm>
              <a:off x="4695532" y="1869949"/>
              <a:ext cx="1999459" cy="583580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ZECRIN OFFICE</a:t>
              </a:r>
            </a:p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Bc. Hana Vladíková, BBA</a:t>
              </a:r>
            </a:p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jektová podpora</a:t>
              </a:r>
            </a:p>
          </p:txBody>
        </p:sp>
      </p:grp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A65CD962-93A1-4DD1-9423-5F1087567FC4}"/>
              </a:ext>
            </a:extLst>
          </p:cNvPr>
          <p:cNvGrpSpPr/>
          <p:nvPr/>
        </p:nvGrpSpPr>
        <p:grpSpPr>
          <a:xfrm>
            <a:off x="8513547" y="1276172"/>
            <a:ext cx="2062599" cy="646720"/>
            <a:chOff x="4663962" y="1838379"/>
            <a:chExt cx="2062599" cy="646720"/>
          </a:xfrm>
        </p:grpSpPr>
        <p:sp>
          <p:nvSpPr>
            <p:cNvPr id="13" name="Obdélník: se zakulacenými rohy 12">
              <a:extLst>
                <a:ext uri="{FF2B5EF4-FFF2-40B4-BE49-F238E27FC236}">
                  <a16:creationId xmlns:a16="http://schemas.microsoft.com/office/drawing/2014/main" id="{8AEC787A-7B41-478C-92CA-D9EDB05A4E20}"/>
                </a:ext>
              </a:extLst>
            </p:cNvPr>
            <p:cNvSpPr/>
            <p:nvPr/>
          </p:nvSpPr>
          <p:spPr>
            <a:xfrm>
              <a:off x="4663962" y="1838379"/>
              <a:ext cx="2062599" cy="646720"/>
            </a:xfrm>
            <a:prstGeom prst="roundRect">
              <a:avLst/>
            </a:prstGeom>
            <a:noFill/>
            <a:ln w="317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Obdélník: se zakulacenými rohy 4">
              <a:extLst>
                <a:ext uri="{FF2B5EF4-FFF2-40B4-BE49-F238E27FC236}">
                  <a16:creationId xmlns:a16="http://schemas.microsoft.com/office/drawing/2014/main" id="{E2ECC842-F081-4DFB-893C-8EB1DB4C62F6}"/>
                </a:ext>
              </a:extLst>
            </p:cNvPr>
            <p:cNvSpPr txBox="1"/>
            <p:nvPr/>
          </p:nvSpPr>
          <p:spPr>
            <a:xfrm>
              <a:off x="4695532" y="1869949"/>
              <a:ext cx="1999459" cy="583580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OÚ</a:t>
              </a:r>
            </a:p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gr. Martina Lojová, Ph.D.</a:t>
              </a:r>
            </a:p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jektový manažer</a:t>
              </a:r>
              <a:endPara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F0BD26CB-DA5D-4E9F-A817-54F9C67E8D87}"/>
              </a:ext>
            </a:extLst>
          </p:cNvPr>
          <p:cNvGrpSpPr/>
          <p:nvPr/>
        </p:nvGrpSpPr>
        <p:grpSpPr>
          <a:xfrm>
            <a:off x="6751457" y="5908084"/>
            <a:ext cx="2062599" cy="646720"/>
            <a:chOff x="4688829" y="4593410"/>
            <a:chExt cx="2062599" cy="646720"/>
          </a:xfrm>
          <a:solidFill>
            <a:schemeClr val="bg1"/>
          </a:solidFill>
        </p:grpSpPr>
        <p:sp>
          <p:nvSpPr>
            <p:cNvPr id="16" name="Obdélník: se zakulacenými rohy 15">
              <a:extLst>
                <a:ext uri="{FF2B5EF4-FFF2-40B4-BE49-F238E27FC236}">
                  <a16:creationId xmlns:a16="http://schemas.microsoft.com/office/drawing/2014/main" id="{3B204C0A-C07E-4854-9AA4-60BE77329888}"/>
                </a:ext>
              </a:extLst>
            </p:cNvPr>
            <p:cNvSpPr/>
            <p:nvPr/>
          </p:nvSpPr>
          <p:spPr>
            <a:xfrm>
              <a:off x="4688829" y="4593410"/>
              <a:ext cx="2062599" cy="646720"/>
            </a:xfrm>
            <a:prstGeom prst="roundRect">
              <a:avLst/>
            </a:prstGeom>
            <a:grpFill/>
            <a:ln w="317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Obdélník: se zakulacenými rohy 4">
              <a:extLst>
                <a:ext uri="{FF2B5EF4-FFF2-40B4-BE49-F238E27FC236}">
                  <a16:creationId xmlns:a16="http://schemas.microsoft.com/office/drawing/2014/main" id="{49384DF2-A6B5-4C8D-AEA8-2B44ADC61B75}"/>
                </a:ext>
              </a:extLst>
            </p:cNvPr>
            <p:cNvSpPr txBox="1"/>
            <p:nvPr/>
          </p:nvSpPr>
          <p:spPr>
            <a:xfrm>
              <a:off x="4748582" y="4642451"/>
              <a:ext cx="1943092" cy="54863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N OLOMOUC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f. MUDr. Bohuslav Melichar, Ph.D</a:t>
              </a:r>
            </a:p>
          </p:txBody>
        </p:sp>
      </p:grpSp>
      <p:sp>
        <p:nvSpPr>
          <p:cNvPr id="34" name="Zástupný symbol pro zápatí 3">
            <a:extLst>
              <a:ext uri="{FF2B5EF4-FFF2-40B4-BE49-F238E27FC236}">
                <a16:creationId xmlns:a16="http://schemas.microsoft.com/office/drawing/2014/main" id="{409A4519-244F-47BC-AE2B-812A78876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29180" y="6292643"/>
            <a:ext cx="5309901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1" u="none" strike="noStrike" kern="1200" cap="none" spc="0" normalizeH="0" baseline="0" noProof="0" dirty="0">
                <a:ln>
                  <a:noFill/>
                </a:ln>
                <a:solidFill>
                  <a:srgbClr val="15151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ZECRIN ONCO</a:t>
            </a:r>
          </a:p>
        </p:txBody>
      </p:sp>
    </p:spTree>
    <p:extLst>
      <p:ext uri="{BB962C8B-B14F-4D97-AF65-F5344CB8AC3E}">
        <p14:creationId xmlns:p14="http://schemas.microsoft.com/office/powerpoint/2010/main" val="15220004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BA9650F6-7CC3-4EDC-8BDE-03898C514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200" dirty="0"/>
              <a:t>WP5: Pilotní projekt GENESIS pro „</a:t>
            </a:r>
            <a:r>
              <a:rPr lang="cs-CZ" sz="3200" dirty="0" err="1"/>
              <a:t>Outcome-Based</a:t>
            </a:r>
            <a:r>
              <a:rPr lang="cs-CZ" sz="3200" dirty="0"/>
              <a:t>“ model úhrad  personalizovaných léčiv </a:t>
            </a:r>
            <a:br>
              <a:rPr lang="cs-CZ" sz="2000" b="1" dirty="0"/>
            </a:br>
            <a:r>
              <a:rPr lang="cs-CZ" sz="2000" dirty="0"/>
              <a:t> </a:t>
            </a:r>
            <a:endParaRPr lang="en-GB" sz="2000" dirty="0"/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65074112-D995-492C-AFF5-C50BAFF59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6433" y="1846264"/>
            <a:ext cx="10381192" cy="402272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/>
              <a:t>Cílem je využít data</a:t>
            </a:r>
            <a:r>
              <a:rPr lang="cs-CZ" dirty="0"/>
              <a:t> získaná v rámci platformy </a:t>
            </a:r>
            <a:r>
              <a:rPr lang="cs-CZ" b="1" dirty="0"/>
              <a:t>GENESIS</a:t>
            </a:r>
            <a:r>
              <a:rPr lang="cs-CZ" dirty="0"/>
              <a:t> /léčby pacientů indikovaných na základě doporučení MTB/ pro</a:t>
            </a:r>
            <a:r>
              <a:rPr lang="cs-CZ" b="1" dirty="0"/>
              <a:t> </a:t>
            </a:r>
            <a:r>
              <a:rPr lang="cs-CZ" dirty="0"/>
              <a:t>vytvoření efektivního </a:t>
            </a:r>
            <a:r>
              <a:rPr lang="cs-CZ" b="1" dirty="0"/>
              <a:t>modelu pro sdílení rizik ve schématu „</a:t>
            </a:r>
            <a:r>
              <a:rPr lang="cs-CZ" b="1" dirty="0" err="1"/>
              <a:t>Outcome-based</a:t>
            </a:r>
            <a:r>
              <a:rPr lang="cs-CZ" b="1" dirty="0"/>
              <a:t>“</a:t>
            </a:r>
            <a:r>
              <a:rPr lang="cs-CZ" dirty="0"/>
              <a:t>  </a:t>
            </a:r>
          </a:p>
          <a:p>
            <a:pPr marL="0" indent="0">
              <a:buNone/>
            </a:pPr>
            <a:r>
              <a:rPr lang="cs-CZ" dirty="0"/>
              <a:t>s ideo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cs-CZ" dirty="0"/>
              <a:t>ověření již vytvořeného OBM pro vybraná cílená </a:t>
            </a:r>
            <a:r>
              <a:rPr lang="cs-CZ" dirty="0" err="1"/>
              <a:t>p.o</a:t>
            </a:r>
            <a:r>
              <a:rPr lang="cs-CZ" dirty="0"/>
              <a:t>. léčiv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cs-CZ" dirty="0"/>
              <a:t>za předpokladu modelace pro definovaný počet hodnocených pacientů (250-280) s definovaným poměrem zastoupení konkrétních dg. / plánovanou interim analýzo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cs-CZ" dirty="0"/>
              <a:t>s předvídatelným dopadem do rozpočt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cs-CZ" dirty="0"/>
              <a:t>časovým předpokladem 12 měsíců pro sběr dat a celkově 18 měsíců pro modelaci výstupů / za podpory CZECRIN ONCO sítě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cs-CZ" dirty="0"/>
              <a:t>únosnou administrativní náročností / v optimálním případě doporučení OBM s budoucím využitím dat plátců bez nutnosti speciálních registrů </a:t>
            </a:r>
          </a:p>
          <a:p>
            <a:pPr marL="200025" lvl="1" indent="0">
              <a:buNone/>
            </a:pPr>
            <a:endParaRPr lang="cs-CZ" dirty="0"/>
          </a:p>
          <a:p>
            <a:endParaRPr lang="en-GB" b="1" dirty="0"/>
          </a:p>
          <a:p>
            <a:pPr marL="384175" lvl="2" indent="0">
              <a:buNone/>
            </a:pPr>
            <a:endParaRPr lang="en-GB" dirty="0"/>
          </a:p>
        </p:txBody>
      </p:sp>
      <p:sp>
        <p:nvSpPr>
          <p:cNvPr id="5" name="Nadpis 3">
            <a:extLst>
              <a:ext uri="{FF2B5EF4-FFF2-40B4-BE49-F238E27FC236}">
                <a16:creationId xmlns:a16="http://schemas.microsoft.com/office/drawing/2014/main" id="{FFDE39C2-C8CB-42D4-822F-1FB4142DA5AD}"/>
              </a:ext>
            </a:extLst>
          </p:cNvPr>
          <p:cNvSpPr txBox="1">
            <a:spLocks/>
          </p:cNvSpPr>
          <p:nvPr/>
        </p:nvSpPr>
        <p:spPr bwMode="gray">
          <a:xfrm>
            <a:off x="607484" y="321965"/>
            <a:ext cx="1097280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 kern="1200" spc="-50">
                <a:solidFill>
                  <a:srgbClr val="40404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404040"/>
                </a:solidFill>
                <a:latin typeface="Calibri Light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-5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7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  <p:pic>
        <p:nvPicPr>
          <p:cNvPr id="8" name="Obráze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4643" y="5756155"/>
            <a:ext cx="226218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Zástupný obsah 4">
            <a:extLst>
              <a:ext uri="{FF2B5EF4-FFF2-40B4-BE49-F238E27FC236}">
                <a16:creationId xmlns:a16="http://schemas.microsoft.com/office/drawing/2014/main" id="{DEF7328E-99FB-4F75-A733-739D5476FC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443" y="963508"/>
            <a:ext cx="1303218" cy="715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82659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1B54983-52FF-40AD-A253-44A7229E2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6B78C6D-C968-4913-B85F-89E03A8895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6800" y="2087742"/>
            <a:ext cx="10058400" cy="990242"/>
          </a:xfrm>
        </p:spPr>
        <p:txBody>
          <a:bodyPr/>
          <a:lstStyle/>
          <a:p>
            <a:pPr algn="ctr"/>
            <a:r>
              <a:rPr lang="cs-CZ" sz="2800" spc="-60" dirty="0">
                <a:solidFill>
                  <a:schemeClr val="tx1"/>
                </a:solidFill>
                <a:ea typeface="+mj-ea"/>
                <a:cs typeface="+mj-cs"/>
              </a:rPr>
              <a:t>Pro zajištění co nejúčinnější a nejbezpečnější léčby pacientů </a:t>
            </a:r>
            <a:br>
              <a:rPr lang="cs-CZ" sz="2800" spc="-60" dirty="0">
                <a:solidFill>
                  <a:schemeClr val="tx1"/>
                </a:solidFill>
                <a:ea typeface="+mj-ea"/>
                <a:cs typeface="+mj-cs"/>
              </a:rPr>
            </a:br>
            <a:r>
              <a:rPr lang="cs-CZ" sz="2800" spc="-60" dirty="0">
                <a:solidFill>
                  <a:schemeClr val="tx1"/>
                </a:solidFill>
                <a:ea typeface="+mj-ea"/>
                <a:cs typeface="+mj-cs"/>
              </a:rPr>
              <a:t>nestačí jen </a:t>
            </a:r>
            <a:r>
              <a:rPr lang="cs-CZ" sz="2800" b="1" spc="-60" dirty="0">
                <a:solidFill>
                  <a:schemeClr val="tx1"/>
                </a:solidFill>
                <a:ea typeface="+mj-ea"/>
                <a:cs typeface="+mj-cs"/>
              </a:rPr>
              <a:t>vyvíjet a registrovat nové přípravky</a:t>
            </a:r>
            <a:endParaRPr lang="cs-CZ" sz="2800" dirty="0">
              <a:solidFill>
                <a:schemeClr val="tx1"/>
              </a:solidFill>
            </a:endParaRPr>
          </a:p>
        </p:txBody>
      </p:sp>
      <p:sp>
        <p:nvSpPr>
          <p:cNvPr id="6" name="Zástupný obsah 2">
            <a:extLst>
              <a:ext uri="{FF2B5EF4-FFF2-40B4-BE49-F238E27FC236}">
                <a16:creationId xmlns:a16="http://schemas.microsoft.com/office/drawing/2014/main" id="{1B6B9D75-8893-4B09-A8A4-85F0209BC850}"/>
              </a:ext>
            </a:extLst>
          </p:cNvPr>
          <p:cNvSpPr txBox="1">
            <a:spLocks/>
          </p:cNvSpPr>
          <p:nvPr/>
        </p:nvSpPr>
        <p:spPr bwMode="auto">
          <a:xfrm>
            <a:off x="1096433" y="3780017"/>
            <a:ext cx="10058400" cy="990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90488" indent="-904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82588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566738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749300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931863" indent="-182563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anose="020F0502020204030204" pitchFamily="34" charset="0"/>
              <a:buChar char="◦"/>
              <a:defRPr sz="1400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2800" spc="-60" dirty="0">
                <a:solidFill>
                  <a:schemeClr val="tx1"/>
                </a:solidFill>
                <a:ea typeface="+mj-ea"/>
                <a:cs typeface="+mj-cs"/>
              </a:rPr>
              <a:t>Zásadní je rovněž </a:t>
            </a:r>
            <a:r>
              <a:rPr lang="cs-CZ" sz="2800" b="1" spc="-60" dirty="0">
                <a:solidFill>
                  <a:schemeClr val="tx1"/>
                </a:solidFill>
                <a:ea typeface="+mj-ea"/>
                <a:cs typeface="+mj-cs"/>
              </a:rPr>
              <a:t>využívat a analyzovat </a:t>
            </a:r>
            <a:r>
              <a:rPr lang="cs-CZ" sz="2800" spc="-60" dirty="0">
                <a:solidFill>
                  <a:schemeClr val="tx1"/>
                </a:solidFill>
                <a:ea typeface="+mj-ea"/>
                <a:cs typeface="+mj-cs"/>
              </a:rPr>
              <a:t>existující nebo prospektivně pořizovaná </a:t>
            </a:r>
            <a:r>
              <a:rPr lang="cs-CZ" sz="2800" b="1" spc="-60" dirty="0">
                <a:solidFill>
                  <a:schemeClr val="tx1"/>
                </a:solidFill>
                <a:ea typeface="+mj-ea"/>
                <a:cs typeface="+mj-cs"/>
              </a:rPr>
              <a:t>data z reálné klinické praxe</a:t>
            </a:r>
            <a:endParaRPr lang="cs-CZ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321885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36A64AB-3EAA-45C4-AEA1-01BEDFF14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/>
              <a:t>Personalizovaná medicína / RCT</a:t>
            </a:r>
          </a:p>
        </p:txBody>
      </p:sp>
      <p:sp>
        <p:nvSpPr>
          <p:cNvPr id="4" name="Zástupný symbol pro obsah 2">
            <a:extLst>
              <a:ext uri="{FF2B5EF4-FFF2-40B4-BE49-F238E27FC236}">
                <a16:creationId xmlns:a16="http://schemas.microsoft.com/office/drawing/2014/main" id="{A5745C5B-06E9-453A-A041-3029009943E8}"/>
              </a:ext>
            </a:extLst>
          </p:cNvPr>
          <p:cNvSpPr txBox="1">
            <a:spLocks noGrp="1" noChangeArrowheads="1"/>
          </p:cNvSpPr>
          <p:nvPr>
            <p:ph idx="1"/>
          </p:nvPr>
        </p:nvSpPr>
        <p:spPr>
          <a:xfrm>
            <a:off x="1096433" y="1867529"/>
            <a:ext cx="10058400" cy="4022725"/>
          </a:xfrm>
        </p:spPr>
        <p:txBody>
          <a:bodyPr/>
          <a:lstStyle/>
          <a:p>
            <a:pPr marL="0" indent="0" algn="ctr">
              <a:buNone/>
            </a:pPr>
            <a:r>
              <a:rPr altLang="cs-CZ" sz="2800" dirty="0"/>
              <a:t>Koncepty EBM staví na výsledcích „</a:t>
            </a:r>
            <a:r>
              <a:rPr altLang="cs-CZ" sz="2800" dirty="0" err="1"/>
              <a:t>randomised</a:t>
            </a:r>
            <a:r>
              <a:rPr altLang="cs-CZ" sz="2800" dirty="0"/>
              <a:t> </a:t>
            </a:r>
            <a:r>
              <a:rPr altLang="cs-CZ" sz="2800" dirty="0" err="1"/>
              <a:t>control</a:t>
            </a:r>
            <a:r>
              <a:rPr altLang="cs-CZ" sz="2800" dirty="0"/>
              <a:t> </a:t>
            </a:r>
            <a:r>
              <a:rPr altLang="cs-CZ" sz="2800" dirty="0" err="1"/>
              <a:t>trials</a:t>
            </a:r>
            <a:r>
              <a:rPr altLang="cs-CZ" sz="2800" dirty="0"/>
              <a:t>“…</a:t>
            </a:r>
          </a:p>
          <a:p>
            <a:pPr algn="ctr">
              <a:buFont typeface="Arial" panose="020B0604020202020204" pitchFamily="34" charset="0"/>
              <a:buNone/>
            </a:pPr>
            <a:r>
              <a:rPr altLang="cs-CZ" sz="2800" b="1" dirty="0">
                <a:solidFill>
                  <a:schemeClr val="tx1"/>
                </a:solidFill>
              </a:rPr>
              <a:t>     </a:t>
            </a:r>
            <a:r>
              <a:rPr lang="en-US" altLang="cs-CZ" sz="2800" b="1" dirty="0">
                <a:solidFill>
                  <a:schemeClr val="tx1"/>
                </a:solidFill>
              </a:rPr>
              <a:t>RCTs being comparative in principle (!)</a:t>
            </a:r>
            <a:endParaRPr lang="en-US" altLang="cs-CZ" sz="2800" dirty="0"/>
          </a:p>
          <a:p>
            <a:pPr marL="0" indent="0" algn="ctr">
              <a:lnSpc>
                <a:spcPct val="95000"/>
              </a:lnSpc>
              <a:spcBef>
                <a:spcPts val="600"/>
              </a:spcBef>
              <a:buNone/>
            </a:pPr>
            <a:endParaRPr altLang="cs-CZ" sz="2800" dirty="0">
              <a:solidFill>
                <a:srgbClr val="333F50"/>
              </a:solidFill>
              <a:cs typeface="Perpetua" panose="02020502060401020303" pitchFamily="18" charset="0"/>
              <a:sym typeface="Perpetua" panose="02020502060401020303" pitchFamily="18" charset="0"/>
            </a:endParaRPr>
          </a:p>
          <a:p>
            <a:pPr marL="0" indent="0" algn="ctr">
              <a:lnSpc>
                <a:spcPct val="95000"/>
              </a:lnSpc>
              <a:spcBef>
                <a:spcPts val="600"/>
              </a:spcBef>
              <a:buNone/>
            </a:pPr>
            <a:r>
              <a:rPr altLang="cs-CZ" sz="2800" dirty="0">
                <a:solidFill>
                  <a:srgbClr val="333F50"/>
                </a:solidFill>
                <a:cs typeface="Perpetua" panose="02020502060401020303" pitchFamily="18" charset="0"/>
                <a:sym typeface="Perpetua" panose="02020502060401020303" pitchFamily="18" charset="0"/>
              </a:rPr>
              <a:t>otázka</a:t>
            </a:r>
            <a:r>
              <a:rPr lang="en-US" altLang="cs-CZ" sz="2800" dirty="0">
                <a:solidFill>
                  <a:srgbClr val="333F50"/>
                </a:solidFill>
                <a:cs typeface="Perpetua" panose="02020502060401020303" pitchFamily="18" charset="0"/>
                <a:sym typeface="Perpetua" panose="02020502060401020303" pitchFamily="18" charset="0"/>
              </a:rPr>
              <a:t>…</a:t>
            </a:r>
            <a:endParaRPr altLang="cs-CZ" sz="2800" dirty="0">
              <a:solidFill>
                <a:srgbClr val="333F50"/>
              </a:solidFill>
              <a:cs typeface="Perpetua" panose="02020502060401020303" pitchFamily="18" charset="0"/>
              <a:sym typeface="Perpetua" panose="02020502060401020303" pitchFamily="18" charset="0"/>
            </a:endParaRPr>
          </a:p>
          <a:p>
            <a:pPr algn="ctr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altLang="cs-CZ" sz="2800" dirty="0">
                <a:solidFill>
                  <a:srgbClr val="FF0000"/>
                </a:solidFill>
                <a:cs typeface="Perpetua" panose="02020502060401020303" pitchFamily="18" charset="0"/>
                <a:sym typeface="Perpetua" panose="02020502060401020303" pitchFamily="18" charset="0"/>
              </a:rPr>
              <a:t>„</a:t>
            </a:r>
            <a:r>
              <a:rPr lang="en-US" altLang="cs-CZ" sz="2800" dirty="0">
                <a:solidFill>
                  <a:srgbClr val="FF0000"/>
                </a:solidFill>
                <a:cs typeface="Perpetua" panose="02020502060401020303" pitchFamily="18" charset="0"/>
                <a:sym typeface="Perpetua" panose="02020502060401020303" pitchFamily="18" charset="0"/>
              </a:rPr>
              <a:t>can we identify people for whom this is the right drug?’’</a:t>
            </a:r>
            <a:endParaRPr altLang="cs-CZ" sz="2800" dirty="0">
              <a:solidFill>
                <a:srgbClr val="FF0000"/>
              </a:solidFill>
              <a:cs typeface="Perpetua" panose="02020502060401020303" pitchFamily="18" charset="0"/>
              <a:sym typeface="Perpetua" panose="02020502060401020303" pitchFamily="18" charset="0"/>
            </a:endParaRPr>
          </a:p>
          <a:p>
            <a:pPr algn="ctr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altLang="cs-CZ" sz="2800" dirty="0">
                <a:cs typeface="Perpetua" panose="02020502060401020303" pitchFamily="18" charset="0"/>
                <a:sym typeface="Perpetua" panose="02020502060401020303" pitchFamily="18" charset="0"/>
              </a:rPr>
              <a:t>se zásadně liší od primárního cílů</a:t>
            </a:r>
          </a:p>
          <a:p>
            <a:pPr algn="ctr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altLang="cs-CZ" sz="2800" dirty="0">
                <a:solidFill>
                  <a:srgbClr val="FF0000"/>
                </a:solidFill>
                <a:cs typeface="Perpetua" panose="02020502060401020303" pitchFamily="18" charset="0"/>
                <a:sym typeface="Perpetua" panose="02020502060401020303" pitchFamily="18" charset="0"/>
              </a:rPr>
              <a:t>„which treatment performs best in the overall population “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endParaRPr lang="en-US" altLang="cs-CZ" sz="2000" dirty="0">
              <a:latin typeface="Perpetua" panose="02020502060401020303" pitchFamily="18" charset="0"/>
              <a:cs typeface="Perpetua" panose="02020502060401020303" pitchFamily="18" charset="0"/>
              <a:sym typeface="Perpetua" panose="02020502060401020303" pitchFamily="18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altLang="cs-CZ" sz="2000" dirty="0">
              <a:latin typeface="Trebuchet MS" panose="020B0603020202020204" pitchFamily="34" charset="0"/>
            </a:endParaRPr>
          </a:p>
          <a:p>
            <a:pPr>
              <a:buFont typeface="Arial" panose="020B0604020202020204" pitchFamily="34" charset="0"/>
              <a:buNone/>
            </a:pPr>
            <a:endParaRPr altLang="cs-CZ" sz="2000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817907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4">
            <a:extLst>
              <a:ext uri="{FF2B5EF4-FFF2-40B4-BE49-F238E27FC236}">
                <a16:creationId xmlns:a16="http://schemas.microsoft.com/office/drawing/2014/main" id="{7DC85077-D614-47A5-B27C-E2956663EFA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08175" y="395288"/>
            <a:ext cx="7196138" cy="514350"/>
          </a:xfrm>
        </p:spPr>
        <p:txBody>
          <a:bodyPr/>
          <a:lstStyle/>
          <a:p>
            <a:pPr eaLnBrk="1" hangingPunct="1"/>
            <a:r>
              <a:rPr lang="en-GB" altLang="cs-CZ"/>
              <a:t>RWD has the power to close knowledge gaps and complement randomised clinical trials</a:t>
            </a:r>
            <a:r>
              <a:rPr lang="en-GB" altLang="cs-CZ" baseline="30000"/>
              <a:t>1</a:t>
            </a:r>
            <a:endParaRPr lang="LID4096" altLang="cs-CZ" baseline="30000"/>
          </a:p>
        </p:txBody>
      </p:sp>
      <p:sp>
        <p:nvSpPr>
          <p:cNvPr id="56323" name="Footer Placeholder 2">
            <a:extLst>
              <a:ext uri="{FF2B5EF4-FFF2-40B4-BE49-F238E27FC236}">
                <a16:creationId xmlns:a16="http://schemas.microsoft.com/office/drawing/2014/main" id="{644FBD32-47B7-4229-97F4-7BE05EC222DE}"/>
              </a:ext>
            </a:extLst>
          </p:cNvPr>
          <p:cNvSpPr>
            <a:spLocks noGrp="1" noChangeArrowheads="1"/>
          </p:cNvSpPr>
          <p:nvPr>
            <p:ph type="ftr" sz="quarter" idx="13"/>
          </p:nvPr>
        </p:nvSpPr>
        <p:spPr bwMode="auto">
          <a:xfrm>
            <a:off x="2043113" y="5657850"/>
            <a:ext cx="8121650" cy="274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CH" altLang="cs-CZ" dirty="0">
                <a:solidFill>
                  <a:srgbClr val="7F7F7F"/>
                </a:solidFill>
                <a:latin typeface="Imago"/>
              </a:rPr>
              <a:t>RCT: </a:t>
            </a:r>
            <a:r>
              <a:rPr lang="de-CH" altLang="cs-CZ" dirty="0" err="1">
                <a:solidFill>
                  <a:srgbClr val="7F7F7F"/>
                </a:solidFill>
                <a:latin typeface="Imago"/>
              </a:rPr>
              <a:t>randomised</a:t>
            </a:r>
            <a:r>
              <a:rPr lang="de-CH" altLang="cs-CZ" dirty="0">
                <a:solidFill>
                  <a:srgbClr val="7F7F7F"/>
                </a:solidFill>
                <a:latin typeface="Imago"/>
              </a:rPr>
              <a:t> </a:t>
            </a:r>
            <a:r>
              <a:rPr lang="de-CH" altLang="cs-CZ" dirty="0" err="1">
                <a:solidFill>
                  <a:srgbClr val="7F7F7F"/>
                </a:solidFill>
                <a:latin typeface="Imago"/>
              </a:rPr>
              <a:t>controlled</a:t>
            </a:r>
            <a:r>
              <a:rPr lang="de-CH" altLang="cs-CZ" dirty="0">
                <a:solidFill>
                  <a:srgbClr val="7F7F7F"/>
                </a:solidFill>
                <a:latin typeface="Imago"/>
              </a:rPr>
              <a:t> </a:t>
            </a:r>
            <a:r>
              <a:rPr lang="de-CH" altLang="cs-CZ" dirty="0" err="1">
                <a:solidFill>
                  <a:srgbClr val="7F7F7F"/>
                </a:solidFill>
                <a:latin typeface="Imago"/>
              </a:rPr>
              <a:t>trials</a:t>
            </a:r>
            <a:r>
              <a:rPr lang="de-CH" altLang="cs-CZ" dirty="0">
                <a:solidFill>
                  <a:srgbClr val="7F7F7F"/>
                </a:solidFill>
                <a:latin typeface="Imago"/>
              </a:rPr>
              <a:t>; RWD: real-</a:t>
            </a:r>
            <a:r>
              <a:rPr lang="de-CH" altLang="cs-CZ" dirty="0" err="1">
                <a:solidFill>
                  <a:srgbClr val="7F7F7F"/>
                </a:solidFill>
                <a:latin typeface="Imago"/>
              </a:rPr>
              <a:t>world</a:t>
            </a:r>
            <a:r>
              <a:rPr lang="de-CH" altLang="cs-CZ" dirty="0">
                <a:solidFill>
                  <a:srgbClr val="7F7F7F"/>
                </a:solidFill>
                <a:latin typeface="Imago"/>
              </a:rPr>
              <a:t> </a:t>
            </a:r>
            <a:r>
              <a:rPr lang="de-CH" altLang="cs-CZ" dirty="0" err="1">
                <a:solidFill>
                  <a:srgbClr val="7F7F7F"/>
                </a:solidFill>
                <a:latin typeface="Imago"/>
              </a:rPr>
              <a:t>data</a:t>
            </a:r>
            <a:r>
              <a:rPr lang="de-CH" altLang="cs-CZ" dirty="0">
                <a:solidFill>
                  <a:srgbClr val="7F7F7F"/>
                </a:solidFill>
                <a:latin typeface="Imago"/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CH" altLang="cs-CZ" dirty="0">
                <a:solidFill>
                  <a:srgbClr val="7F7F7F"/>
                </a:solidFill>
                <a:latin typeface="Imago"/>
              </a:rPr>
              <a:t>1. Booth, C.M., et al. (2019) </a:t>
            </a:r>
            <a:r>
              <a:rPr lang="de-CH" altLang="cs-CZ" i="1" dirty="0">
                <a:solidFill>
                  <a:srgbClr val="7F7F7F"/>
                </a:solidFill>
                <a:latin typeface="Imago"/>
              </a:rPr>
              <a:t>Nat Rev </a:t>
            </a:r>
            <a:r>
              <a:rPr lang="de-CH" altLang="cs-CZ" i="1" dirty="0" err="1">
                <a:solidFill>
                  <a:srgbClr val="7F7F7F"/>
                </a:solidFill>
                <a:latin typeface="Imago"/>
              </a:rPr>
              <a:t>Clin</a:t>
            </a:r>
            <a:r>
              <a:rPr lang="de-CH" altLang="cs-CZ" i="1" dirty="0">
                <a:solidFill>
                  <a:srgbClr val="7F7F7F"/>
                </a:solidFill>
                <a:latin typeface="Imago"/>
              </a:rPr>
              <a:t> </a:t>
            </a:r>
            <a:r>
              <a:rPr lang="de-CH" altLang="cs-CZ" i="1" dirty="0" err="1">
                <a:solidFill>
                  <a:srgbClr val="7F7F7F"/>
                </a:solidFill>
                <a:latin typeface="Imago"/>
              </a:rPr>
              <a:t>Oncol</a:t>
            </a:r>
            <a:r>
              <a:rPr lang="de-CH" altLang="cs-CZ" i="1" dirty="0">
                <a:solidFill>
                  <a:srgbClr val="7F7F7F"/>
                </a:solidFill>
                <a:latin typeface="Imago"/>
              </a:rPr>
              <a:t> </a:t>
            </a:r>
            <a:r>
              <a:rPr lang="de-CH" altLang="cs-CZ" dirty="0">
                <a:solidFill>
                  <a:srgbClr val="7F7F7F"/>
                </a:solidFill>
                <a:latin typeface="Imago"/>
              </a:rPr>
              <a:t>16:312–25; 2. Eichler, H.-G., et al. (2012) </a:t>
            </a:r>
            <a:r>
              <a:rPr lang="de-CH" altLang="cs-CZ" i="1" dirty="0" err="1">
                <a:solidFill>
                  <a:srgbClr val="7F7F7F"/>
                </a:solidFill>
                <a:latin typeface="Imago"/>
              </a:rPr>
              <a:t>Clin</a:t>
            </a:r>
            <a:r>
              <a:rPr lang="de-CH" altLang="cs-CZ" i="1" dirty="0">
                <a:solidFill>
                  <a:srgbClr val="7F7F7F"/>
                </a:solidFill>
                <a:latin typeface="Imago"/>
              </a:rPr>
              <a:t> </a:t>
            </a:r>
            <a:r>
              <a:rPr lang="de-CH" altLang="cs-CZ" i="1" dirty="0" err="1">
                <a:solidFill>
                  <a:srgbClr val="7F7F7F"/>
                </a:solidFill>
                <a:latin typeface="Imago"/>
              </a:rPr>
              <a:t>Pharmacol</a:t>
            </a:r>
            <a:r>
              <a:rPr lang="de-CH" altLang="cs-CZ" i="1" dirty="0">
                <a:solidFill>
                  <a:srgbClr val="7F7F7F"/>
                </a:solidFill>
                <a:latin typeface="Imago"/>
              </a:rPr>
              <a:t> </a:t>
            </a:r>
            <a:r>
              <a:rPr lang="de-CH" altLang="cs-CZ" i="1" dirty="0" err="1">
                <a:solidFill>
                  <a:srgbClr val="7F7F7F"/>
                </a:solidFill>
                <a:latin typeface="Imago"/>
              </a:rPr>
              <a:t>Ther</a:t>
            </a:r>
            <a:r>
              <a:rPr lang="de-CH" altLang="cs-CZ" i="1" dirty="0">
                <a:solidFill>
                  <a:srgbClr val="7F7F7F"/>
                </a:solidFill>
                <a:latin typeface="Imago"/>
              </a:rPr>
              <a:t> </a:t>
            </a:r>
            <a:r>
              <a:rPr lang="de-CH" altLang="cs-CZ" dirty="0">
                <a:solidFill>
                  <a:srgbClr val="7F7F7F"/>
                </a:solidFill>
                <a:latin typeface="Imago"/>
              </a:rPr>
              <a:t>9: 426-37;</a:t>
            </a:r>
            <a:r>
              <a:rPr lang="en-GB" altLang="cs-CZ" dirty="0">
                <a:solidFill>
                  <a:srgbClr val="7F7F7F"/>
                </a:solidFill>
                <a:latin typeface="Imago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cs-CZ" dirty="0">
                <a:solidFill>
                  <a:srgbClr val="7F7F7F"/>
                </a:solidFill>
                <a:latin typeface="Imago"/>
              </a:rPr>
              <a:t>3. Holt, S., et al. (2013) </a:t>
            </a:r>
            <a:r>
              <a:rPr lang="en-GB" altLang="cs-CZ" i="1" dirty="0">
                <a:solidFill>
                  <a:srgbClr val="7F7F7F"/>
                </a:solidFill>
                <a:latin typeface="Imago"/>
              </a:rPr>
              <a:t>Br J Cancer</a:t>
            </a:r>
            <a:r>
              <a:rPr lang="en-GB" altLang="cs-CZ" dirty="0">
                <a:solidFill>
                  <a:srgbClr val="7F7F7F"/>
                </a:solidFill>
                <a:latin typeface="Imago"/>
              </a:rPr>
              <a:t> 108(11):2250–2258.</a:t>
            </a:r>
            <a:endParaRPr lang="fr-FR" altLang="cs-CZ" dirty="0">
              <a:solidFill>
                <a:srgbClr val="7F7F7F"/>
              </a:solidFill>
              <a:latin typeface="Imago"/>
            </a:endParaRPr>
          </a:p>
        </p:txBody>
      </p:sp>
      <p:grpSp>
        <p:nvGrpSpPr>
          <p:cNvPr id="56324" name="Group 19">
            <a:extLst>
              <a:ext uri="{FF2B5EF4-FFF2-40B4-BE49-F238E27FC236}">
                <a16:creationId xmlns:a16="http://schemas.microsoft.com/office/drawing/2014/main" id="{8A4ECC06-7D87-41D4-B092-D6693C4793EF}"/>
              </a:ext>
            </a:extLst>
          </p:cNvPr>
          <p:cNvGrpSpPr>
            <a:grpSpLocks/>
          </p:cNvGrpSpPr>
          <p:nvPr/>
        </p:nvGrpSpPr>
        <p:grpSpPr bwMode="auto">
          <a:xfrm>
            <a:off x="1873251" y="2166939"/>
            <a:ext cx="5622925" cy="3254375"/>
            <a:chOff x="677487" y="1790759"/>
            <a:chExt cx="7496261" cy="4340463"/>
          </a:xfrm>
        </p:grpSpPr>
        <p:grpSp>
          <p:nvGrpSpPr>
            <p:cNvPr id="56333" name="Group 61">
              <a:extLst>
                <a:ext uri="{FF2B5EF4-FFF2-40B4-BE49-F238E27FC236}">
                  <a16:creationId xmlns:a16="http://schemas.microsoft.com/office/drawing/2014/main" id="{A308F22F-CDE2-466E-B4B5-3BBDF6E2FF5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87462" y="2819813"/>
              <a:ext cx="4569205" cy="2880118"/>
              <a:chOff x="3571313" y="2616169"/>
              <a:chExt cx="2338465" cy="1549964"/>
            </a:xfrm>
          </p:grpSpPr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32DF9EED-D628-4A53-8BBA-DA225347009A}"/>
                  </a:ext>
                </a:extLst>
              </p:cNvPr>
              <p:cNvSpPr/>
              <p:nvPr/>
            </p:nvSpPr>
            <p:spPr bwMode="auto">
              <a:xfrm>
                <a:off x="3571346" y="2616144"/>
                <a:ext cx="2338509" cy="1549646"/>
              </a:xfrm>
              <a:custGeom>
                <a:avLst/>
                <a:gdLst>
                  <a:gd name="connsiteX0" fmla="*/ 0 w 2262188"/>
                  <a:gd name="connsiteY0" fmla="*/ 790575 h 795338"/>
                  <a:gd name="connsiteX1" fmla="*/ 52388 w 2262188"/>
                  <a:gd name="connsiteY1" fmla="*/ 466725 h 795338"/>
                  <a:gd name="connsiteX2" fmla="*/ 723900 w 2262188"/>
                  <a:gd name="connsiteY2" fmla="*/ 0 h 795338"/>
                  <a:gd name="connsiteX3" fmla="*/ 1047750 w 2262188"/>
                  <a:gd name="connsiteY3" fmla="*/ 9525 h 795338"/>
                  <a:gd name="connsiteX4" fmla="*/ 2252663 w 2262188"/>
                  <a:gd name="connsiteY4" fmla="*/ 657225 h 795338"/>
                  <a:gd name="connsiteX5" fmla="*/ 2262188 w 2262188"/>
                  <a:gd name="connsiteY5" fmla="*/ 795338 h 795338"/>
                  <a:gd name="connsiteX6" fmla="*/ 0 w 2262188"/>
                  <a:gd name="connsiteY6" fmla="*/ 790575 h 795338"/>
                  <a:gd name="connsiteX0" fmla="*/ 0 w 2262188"/>
                  <a:gd name="connsiteY0" fmla="*/ 802481 h 807244"/>
                  <a:gd name="connsiteX1" fmla="*/ 52388 w 2262188"/>
                  <a:gd name="connsiteY1" fmla="*/ 478631 h 807244"/>
                  <a:gd name="connsiteX2" fmla="*/ 723900 w 2262188"/>
                  <a:gd name="connsiteY2" fmla="*/ 0 h 807244"/>
                  <a:gd name="connsiteX3" fmla="*/ 1047750 w 2262188"/>
                  <a:gd name="connsiteY3" fmla="*/ 21431 h 807244"/>
                  <a:gd name="connsiteX4" fmla="*/ 2252663 w 2262188"/>
                  <a:gd name="connsiteY4" fmla="*/ 669131 h 807244"/>
                  <a:gd name="connsiteX5" fmla="*/ 2262188 w 2262188"/>
                  <a:gd name="connsiteY5" fmla="*/ 807244 h 807244"/>
                  <a:gd name="connsiteX6" fmla="*/ 0 w 2262188"/>
                  <a:gd name="connsiteY6" fmla="*/ 802481 h 807244"/>
                  <a:gd name="connsiteX0" fmla="*/ 0 w 2262188"/>
                  <a:gd name="connsiteY0" fmla="*/ 862189 h 866952"/>
                  <a:gd name="connsiteX1" fmla="*/ 52388 w 2262188"/>
                  <a:gd name="connsiteY1" fmla="*/ 538339 h 866952"/>
                  <a:gd name="connsiteX2" fmla="*/ 723900 w 2262188"/>
                  <a:gd name="connsiteY2" fmla="*/ 59708 h 866952"/>
                  <a:gd name="connsiteX3" fmla="*/ 1047750 w 2262188"/>
                  <a:gd name="connsiteY3" fmla="*/ 81139 h 866952"/>
                  <a:gd name="connsiteX4" fmla="*/ 2252663 w 2262188"/>
                  <a:gd name="connsiteY4" fmla="*/ 728839 h 866952"/>
                  <a:gd name="connsiteX5" fmla="*/ 2262188 w 2262188"/>
                  <a:gd name="connsiteY5" fmla="*/ 866952 h 866952"/>
                  <a:gd name="connsiteX6" fmla="*/ 0 w 2262188"/>
                  <a:gd name="connsiteY6" fmla="*/ 862189 h 866952"/>
                  <a:gd name="connsiteX0" fmla="*/ 0 w 2262188"/>
                  <a:gd name="connsiteY0" fmla="*/ 904126 h 908889"/>
                  <a:gd name="connsiteX1" fmla="*/ 52388 w 2262188"/>
                  <a:gd name="connsiteY1" fmla="*/ 580276 h 908889"/>
                  <a:gd name="connsiteX2" fmla="*/ 723900 w 2262188"/>
                  <a:gd name="connsiteY2" fmla="*/ 101645 h 908889"/>
                  <a:gd name="connsiteX3" fmla="*/ 1047750 w 2262188"/>
                  <a:gd name="connsiteY3" fmla="*/ 123076 h 908889"/>
                  <a:gd name="connsiteX4" fmla="*/ 2252663 w 2262188"/>
                  <a:gd name="connsiteY4" fmla="*/ 770776 h 908889"/>
                  <a:gd name="connsiteX5" fmla="*/ 2262188 w 2262188"/>
                  <a:gd name="connsiteY5" fmla="*/ 908889 h 908889"/>
                  <a:gd name="connsiteX6" fmla="*/ 0 w 2262188"/>
                  <a:gd name="connsiteY6" fmla="*/ 904126 h 908889"/>
                  <a:gd name="connsiteX0" fmla="*/ 177484 w 2439672"/>
                  <a:gd name="connsiteY0" fmla="*/ 904126 h 908889"/>
                  <a:gd name="connsiteX1" fmla="*/ 229872 w 2439672"/>
                  <a:gd name="connsiteY1" fmla="*/ 580276 h 908889"/>
                  <a:gd name="connsiteX2" fmla="*/ 901384 w 2439672"/>
                  <a:gd name="connsiteY2" fmla="*/ 101645 h 908889"/>
                  <a:gd name="connsiteX3" fmla="*/ 1225234 w 2439672"/>
                  <a:gd name="connsiteY3" fmla="*/ 123076 h 908889"/>
                  <a:gd name="connsiteX4" fmla="*/ 2430147 w 2439672"/>
                  <a:gd name="connsiteY4" fmla="*/ 770776 h 908889"/>
                  <a:gd name="connsiteX5" fmla="*/ 2439672 w 2439672"/>
                  <a:gd name="connsiteY5" fmla="*/ 908889 h 908889"/>
                  <a:gd name="connsiteX6" fmla="*/ 177484 w 2439672"/>
                  <a:gd name="connsiteY6" fmla="*/ 904126 h 908889"/>
                  <a:gd name="connsiteX0" fmla="*/ 157635 w 2419823"/>
                  <a:gd name="connsiteY0" fmla="*/ 904126 h 908889"/>
                  <a:gd name="connsiteX1" fmla="*/ 210023 w 2419823"/>
                  <a:gd name="connsiteY1" fmla="*/ 580276 h 908889"/>
                  <a:gd name="connsiteX2" fmla="*/ 881535 w 2419823"/>
                  <a:gd name="connsiteY2" fmla="*/ 101645 h 908889"/>
                  <a:gd name="connsiteX3" fmla="*/ 1205385 w 2419823"/>
                  <a:gd name="connsiteY3" fmla="*/ 123076 h 908889"/>
                  <a:gd name="connsiteX4" fmla="*/ 2410298 w 2419823"/>
                  <a:gd name="connsiteY4" fmla="*/ 770776 h 908889"/>
                  <a:gd name="connsiteX5" fmla="*/ 2419823 w 2419823"/>
                  <a:gd name="connsiteY5" fmla="*/ 908889 h 908889"/>
                  <a:gd name="connsiteX6" fmla="*/ 157635 w 2419823"/>
                  <a:gd name="connsiteY6" fmla="*/ 904126 h 908889"/>
                  <a:gd name="connsiteX0" fmla="*/ 5619 w 2267807"/>
                  <a:gd name="connsiteY0" fmla="*/ 904126 h 908889"/>
                  <a:gd name="connsiteX1" fmla="*/ 58007 w 2267807"/>
                  <a:gd name="connsiteY1" fmla="*/ 580276 h 908889"/>
                  <a:gd name="connsiteX2" fmla="*/ 729519 w 2267807"/>
                  <a:gd name="connsiteY2" fmla="*/ 101645 h 908889"/>
                  <a:gd name="connsiteX3" fmla="*/ 1053369 w 2267807"/>
                  <a:gd name="connsiteY3" fmla="*/ 123076 h 908889"/>
                  <a:gd name="connsiteX4" fmla="*/ 2258282 w 2267807"/>
                  <a:gd name="connsiteY4" fmla="*/ 770776 h 908889"/>
                  <a:gd name="connsiteX5" fmla="*/ 2267807 w 2267807"/>
                  <a:gd name="connsiteY5" fmla="*/ 908889 h 908889"/>
                  <a:gd name="connsiteX6" fmla="*/ 5619 w 2267807"/>
                  <a:gd name="connsiteY6" fmla="*/ 904126 h 908889"/>
                  <a:gd name="connsiteX0" fmla="*/ 5619 w 2267807"/>
                  <a:gd name="connsiteY0" fmla="*/ 835240 h 840003"/>
                  <a:gd name="connsiteX1" fmla="*/ 58007 w 2267807"/>
                  <a:gd name="connsiteY1" fmla="*/ 511390 h 840003"/>
                  <a:gd name="connsiteX2" fmla="*/ 729519 w 2267807"/>
                  <a:gd name="connsiteY2" fmla="*/ 32759 h 840003"/>
                  <a:gd name="connsiteX3" fmla="*/ 1293875 w 2267807"/>
                  <a:gd name="connsiteY3" fmla="*/ 185158 h 840003"/>
                  <a:gd name="connsiteX4" fmla="*/ 2258282 w 2267807"/>
                  <a:gd name="connsiteY4" fmla="*/ 701890 h 840003"/>
                  <a:gd name="connsiteX5" fmla="*/ 2267807 w 2267807"/>
                  <a:gd name="connsiteY5" fmla="*/ 840003 h 840003"/>
                  <a:gd name="connsiteX6" fmla="*/ 5619 w 2267807"/>
                  <a:gd name="connsiteY6" fmla="*/ 835240 h 840003"/>
                  <a:gd name="connsiteX0" fmla="*/ 7331 w 2269519"/>
                  <a:gd name="connsiteY0" fmla="*/ 838230 h 842993"/>
                  <a:gd name="connsiteX1" fmla="*/ 45431 w 2269519"/>
                  <a:gd name="connsiteY1" fmla="*/ 554861 h 842993"/>
                  <a:gd name="connsiteX2" fmla="*/ 731231 w 2269519"/>
                  <a:gd name="connsiteY2" fmla="*/ 35749 h 842993"/>
                  <a:gd name="connsiteX3" fmla="*/ 1295587 w 2269519"/>
                  <a:gd name="connsiteY3" fmla="*/ 188148 h 842993"/>
                  <a:gd name="connsiteX4" fmla="*/ 2259994 w 2269519"/>
                  <a:gd name="connsiteY4" fmla="*/ 704880 h 842993"/>
                  <a:gd name="connsiteX5" fmla="*/ 2269519 w 2269519"/>
                  <a:gd name="connsiteY5" fmla="*/ 842993 h 842993"/>
                  <a:gd name="connsiteX6" fmla="*/ 7331 w 2269519"/>
                  <a:gd name="connsiteY6" fmla="*/ 838230 h 842993"/>
                  <a:gd name="connsiteX0" fmla="*/ 8032 w 2270220"/>
                  <a:gd name="connsiteY0" fmla="*/ 838230 h 842993"/>
                  <a:gd name="connsiteX1" fmla="*/ 46132 w 2270220"/>
                  <a:gd name="connsiteY1" fmla="*/ 554861 h 842993"/>
                  <a:gd name="connsiteX2" fmla="*/ 731932 w 2270220"/>
                  <a:gd name="connsiteY2" fmla="*/ 35749 h 842993"/>
                  <a:gd name="connsiteX3" fmla="*/ 1296288 w 2270220"/>
                  <a:gd name="connsiteY3" fmla="*/ 188148 h 842993"/>
                  <a:gd name="connsiteX4" fmla="*/ 2260695 w 2270220"/>
                  <a:gd name="connsiteY4" fmla="*/ 704880 h 842993"/>
                  <a:gd name="connsiteX5" fmla="*/ 2270220 w 2270220"/>
                  <a:gd name="connsiteY5" fmla="*/ 842993 h 842993"/>
                  <a:gd name="connsiteX6" fmla="*/ 8032 w 2270220"/>
                  <a:gd name="connsiteY6" fmla="*/ 838230 h 842993"/>
                  <a:gd name="connsiteX0" fmla="*/ 34453 w 2296641"/>
                  <a:gd name="connsiteY0" fmla="*/ 812248 h 817011"/>
                  <a:gd name="connsiteX1" fmla="*/ 72553 w 2296641"/>
                  <a:gd name="connsiteY1" fmla="*/ 528879 h 817011"/>
                  <a:gd name="connsiteX2" fmla="*/ 760735 w 2296641"/>
                  <a:gd name="connsiteY2" fmla="*/ 19292 h 817011"/>
                  <a:gd name="connsiteX3" fmla="*/ 1322709 w 2296641"/>
                  <a:gd name="connsiteY3" fmla="*/ 162166 h 817011"/>
                  <a:gd name="connsiteX4" fmla="*/ 2287116 w 2296641"/>
                  <a:gd name="connsiteY4" fmla="*/ 678898 h 817011"/>
                  <a:gd name="connsiteX5" fmla="*/ 2296641 w 2296641"/>
                  <a:gd name="connsiteY5" fmla="*/ 817011 h 817011"/>
                  <a:gd name="connsiteX6" fmla="*/ 34453 w 2296641"/>
                  <a:gd name="connsiteY6" fmla="*/ 812248 h 817011"/>
                  <a:gd name="connsiteX0" fmla="*/ 34453 w 2296641"/>
                  <a:gd name="connsiteY0" fmla="*/ 813202 h 817965"/>
                  <a:gd name="connsiteX1" fmla="*/ 72553 w 2296641"/>
                  <a:gd name="connsiteY1" fmla="*/ 529833 h 817965"/>
                  <a:gd name="connsiteX2" fmla="*/ 760735 w 2296641"/>
                  <a:gd name="connsiteY2" fmla="*/ 20246 h 817965"/>
                  <a:gd name="connsiteX3" fmla="*/ 1322709 w 2296641"/>
                  <a:gd name="connsiteY3" fmla="*/ 163120 h 817965"/>
                  <a:gd name="connsiteX4" fmla="*/ 2287116 w 2296641"/>
                  <a:gd name="connsiteY4" fmla="*/ 679852 h 817965"/>
                  <a:gd name="connsiteX5" fmla="*/ 2296641 w 2296641"/>
                  <a:gd name="connsiteY5" fmla="*/ 817965 h 817965"/>
                  <a:gd name="connsiteX6" fmla="*/ 34453 w 2296641"/>
                  <a:gd name="connsiteY6" fmla="*/ 813202 h 817965"/>
                  <a:gd name="connsiteX0" fmla="*/ 26038 w 2288226"/>
                  <a:gd name="connsiteY0" fmla="*/ 813202 h 817965"/>
                  <a:gd name="connsiteX1" fmla="*/ 64138 w 2288226"/>
                  <a:gd name="connsiteY1" fmla="*/ 529833 h 817965"/>
                  <a:gd name="connsiteX2" fmla="*/ 752320 w 2288226"/>
                  <a:gd name="connsiteY2" fmla="*/ 20246 h 817965"/>
                  <a:gd name="connsiteX3" fmla="*/ 1314294 w 2288226"/>
                  <a:gd name="connsiteY3" fmla="*/ 163120 h 817965"/>
                  <a:gd name="connsiteX4" fmla="*/ 2278701 w 2288226"/>
                  <a:gd name="connsiteY4" fmla="*/ 679852 h 817965"/>
                  <a:gd name="connsiteX5" fmla="*/ 2288226 w 2288226"/>
                  <a:gd name="connsiteY5" fmla="*/ 817965 h 817965"/>
                  <a:gd name="connsiteX6" fmla="*/ 26038 w 2288226"/>
                  <a:gd name="connsiteY6" fmla="*/ 813202 h 817965"/>
                  <a:gd name="connsiteX0" fmla="*/ 26038 w 2288226"/>
                  <a:gd name="connsiteY0" fmla="*/ 813202 h 817965"/>
                  <a:gd name="connsiteX1" fmla="*/ 64138 w 2288226"/>
                  <a:gd name="connsiteY1" fmla="*/ 529833 h 817965"/>
                  <a:gd name="connsiteX2" fmla="*/ 752320 w 2288226"/>
                  <a:gd name="connsiteY2" fmla="*/ 20246 h 817965"/>
                  <a:gd name="connsiteX3" fmla="*/ 1314294 w 2288226"/>
                  <a:gd name="connsiteY3" fmla="*/ 163120 h 817965"/>
                  <a:gd name="connsiteX4" fmla="*/ 2278701 w 2288226"/>
                  <a:gd name="connsiteY4" fmla="*/ 679852 h 817965"/>
                  <a:gd name="connsiteX5" fmla="*/ 2288226 w 2288226"/>
                  <a:gd name="connsiteY5" fmla="*/ 817965 h 817965"/>
                  <a:gd name="connsiteX6" fmla="*/ 26038 w 2288226"/>
                  <a:gd name="connsiteY6" fmla="*/ 813202 h 817965"/>
                  <a:gd name="connsiteX0" fmla="*/ 0 w 2262188"/>
                  <a:gd name="connsiteY0" fmla="*/ 813202 h 817965"/>
                  <a:gd name="connsiteX1" fmla="*/ 38100 w 2262188"/>
                  <a:gd name="connsiteY1" fmla="*/ 529833 h 817965"/>
                  <a:gd name="connsiteX2" fmla="*/ 726282 w 2262188"/>
                  <a:gd name="connsiteY2" fmla="*/ 20246 h 817965"/>
                  <a:gd name="connsiteX3" fmla="*/ 1288256 w 2262188"/>
                  <a:gd name="connsiteY3" fmla="*/ 163120 h 817965"/>
                  <a:gd name="connsiteX4" fmla="*/ 2252663 w 2262188"/>
                  <a:gd name="connsiteY4" fmla="*/ 679852 h 817965"/>
                  <a:gd name="connsiteX5" fmla="*/ 2262188 w 2262188"/>
                  <a:gd name="connsiteY5" fmla="*/ 817965 h 817965"/>
                  <a:gd name="connsiteX6" fmla="*/ 0 w 2262188"/>
                  <a:gd name="connsiteY6" fmla="*/ 813202 h 817965"/>
                  <a:gd name="connsiteX0" fmla="*/ 1296 w 2263484"/>
                  <a:gd name="connsiteY0" fmla="*/ 794820 h 799583"/>
                  <a:gd name="connsiteX1" fmla="*/ 39396 w 2263484"/>
                  <a:gd name="connsiteY1" fmla="*/ 511451 h 799583"/>
                  <a:gd name="connsiteX2" fmla="*/ 356102 w 2263484"/>
                  <a:gd name="connsiteY2" fmla="*/ 216177 h 799583"/>
                  <a:gd name="connsiteX3" fmla="*/ 727578 w 2263484"/>
                  <a:gd name="connsiteY3" fmla="*/ 1864 h 799583"/>
                  <a:gd name="connsiteX4" fmla="*/ 1289552 w 2263484"/>
                  <a:gd name="connsiteY4" fmla="*/ 144738 h 799583"/>
                  <a:gd name="connsiteX5" fmla="*/ 2253959 w 2263484"/>
                  <a:gd name="connsiteY5" fmla="*/ 661470 h 799583"/>
                  <a:gd name="connsiteX6" fmla="*/ 2263484 w 2263484"/>
                  <a:gd name="connsiteY6" fmla="*/ 799583 h 799583"/>
                  <a:gd name="connsiteX7" fmla="*/ 1296 w 2263484"/>
                  <a:gd name="connsiteY7" fmla="*/ 794820 h 799583"/>
                  <a:gd name="connsiteX0" fmla="*/ 1296 w 2263484"/>
                  <a:gd name="connsiteY0" fmla="*/ 797143 h 801906"/>
                  <a:gd name="connsiteX1" fmla="*/ 39396 w 2263484"/>
                  <a:gd name="connsiteY1" fmla="*/ 513774 h 801906"/>
                  <a:gd name="connsiteX2" fmla="*/ 356102 w 2263484"/>
                  <a:gd name="connsiteY2" fmla="*/ 218500 h 801906"/>
                  <a:gd name="connsiteX3" fmla="*/ 825209 w 2263484"/>
                  <a:gd name="connsiteY3" fmla="*/ 1805 h 801906"/>
                  <a:gd name="connsiteX4" fmla="*/ 1289552 w 2263484"/>
                  <a:gd name="connsiteY4" fmla="*/ 147061 h 801906"/>
                  <a:gd name="connsiteX5" fmla="*/ 2253959 w 2263484"/>
                  <a:gd name="connsiteY5" fmla="*/ 663793 h 801906"/>
                  <a:gd name="connsiteX6" fmla="*/ 2263484 w 2263484"/>
                  <a:gd name="connsiteY6" fmla="*/ 801906 h 801906"/>
                  <a:gd name="connsiteX7" fmla="*/ 1296 w 2263484"/>
                  <a:gd name="connsiteY7" fmla="*/ 797143 h 801906"/>
                  <a:gd name="connsiteX0" fmla="*/ 3894 w 2266082"/>
                  <a:gd name="connsiteY0" fmla="*/ 797241 h 802004"/>
                  <a:gd name="connsiteX1" fmla="*/ 41994 w 2266082"/>
                  <a:gd name="connsiteY1" fmla="*/ 513872 h 802004"/>
                  <a:gd name="connsiteX2" fmla="*/ 403944 w 2266082"/>
                  <a:gd name="connsiteY2" fmla="*/ 220979 h 802004"/>
                  <a:gd name="connsiteX3" fmla="*/ 827807 w 2266082"/>
                  <a:gd name="connsiteY3" fmla="*/ 1903 h 802004"/>
                  <a:gd name="connsiteX4" fmla="*/ 1292150 w 2266082"/>
                  <a:gd name="connsiteY4" fmla="*/ 147159 h 802004"/>
                  <a:gd name="connsiteX5" fmla="*/ 2256557 w 2266082"/>
                  <a:gd name="connsiteY5" fmla="*/ 663891 h 802004"/>
                  <a:gd name="connsiteX6" fmla="*/ 2266082 w 2266082"/>
                  <a:gd name="connsiteY6" fmla="*/ 802004 h 802004"/>
                  <a:gd name="connsiteX7" fmla="*/ 3894 w 2266082"/>
                  <a:gd name="connsiteY7" fmla="*/ 797241 h 802004"/>
                  <a:gd name="connsiteX0" fmla="*/ 3894 w 2268463"/>
                  <a:gd name="connsiteY0" fmla="*/ 797241 h 802004"/>
                  <a:gd name="connsiteX1" fmla="*/ 41994 w 2268463"/>
                  <a:gd name="connsiteY1" fmla="*/ 513872 h 802004"/>
                  <a:gd name="connsiteX2" fmla="*/ 403944 w 2268463"/>
                  <a:gd name="connsiteY2" fmla="*/ 220979 h 802004"/>
                  <a:gd name="connsiteX3" fmla="*/ 827807 w 2268463"/>
                  <a:gd name="connsiteY3" fmla="*/ 1903 h 802004"/>
                  <a:gd name="connsiteX4" fmla="*/ 1292150 w 2268463"/>
                  <a:gd name="connsiteY4" fmla="*/ 147159 h 802004"/>
                  <a:gd name="connsiteX5" fmla="*/ 2268463 w 2268463"/>
                  <a:gd name="connsiteY5" fmla="*/ 663891 h 802004"/>
                  <a:gd name="connsiteX6" fmla="*/ 2266082 w 2268463"/>
                  <a:gd name="connsiteY6" fmla="*/ 802004 h 802004"/>
                  <a:gd name="connsiteX7" fmla="*/ 3894 w 2268463"/>
                  <a:gd name="connsiteY7" fmla="*/ 797241 h 802004"/>
                  <a:gd name="connsiteX0" fmla="*/ 3894 w 2268463"/>
                  <a:gd name="connsiteY0" fmla="*/ 1471009 h 1475772"/>
                  <a:gd name="connsiteX1" fmla="*/ 41994 w 2268463"/>
                  <a:gd name="connsiteY1" fmla="*/ 1187640 h 1475772"/>
                  <a:gd name="connsiteX2" fmla="*/ 403944 w 2268463"/>
                  <a:gd name="connsiteY2" fmla="*/ 894747 h 1475772"/>
                  <a:gd name="connsiteX3" fmla="*/ 1227857 w 2268463"/>
                  <a:gd name="connsiteY3" fmla="*/ 183 h 1475772"/>
                  <a:gd name="connsiteX4" fmla="*/ 1292150 w 2268463"/>
                  <a:gd name="connsiteY4" fmla="*/ 820927 h 1475772"/>
                  <a:gd name="connsiteX5" fmla="*/ 2268463 w 2268463"/>
                  <a:gd name="connsiteY5" fmla="*/ 1337659 h 1475772"/>
                  <a:gd name="connsiteX6" fmla="*/ 2266082 w 2268463"/>
                  <a:gd name="connsiteY6" fmla="*/ 1475772 h 1475772"/>
                  <a:gd name="connsiteX7" fmla="*/ 3894 w 2268463"/>
                  <a:gd name="connsiteY7" fmla="*/ 1471009 h 1475772"/>
                  <a:gd name="connsiteX0" fmla="*/ 3894 w 2268463"/>
                  <a:gd name="connsiteY0" fmla="*/ 1490209 h 1494972"/>
                  <a:gd name="connsiteX1" fmla="*/ 41994 w 2268463"/>
                  <a:gd name="connsiteY1" fmla="*/ 1206840 h 1494972"/>
                  <a:gd name="connsiteX2" fmla="*/ 403944 w 2268463"/>
                  <a:gd name="connsiteY2" fmla="*/ 913947 h 1494972"/>
                  <a:gd name="connsiteX3" fmla="*/ 1227857 w 2268463"/>
                  <a:gd name="connsiteY3" fmla="*/ 19383 h 1494972"/>
                  <a:gd name="connsiteX4" fmla="*/ 1981125 w 2268463"/>
                  <a:gd name="connsiteY4" fmla="*/ 383757 h 1494972"/>
                  <a:gd name="connsiteX5" fmla="*/ 2268463 w 2268463"/>
                  <a:gd name="connsiteY5" fmla="*/ 1356859 h 1494972"/>
                  <a:gd name="connsiteX6" fmla="*/ 2266082 w 2268463"/>
                  <a:gd name="connsiteY6" fmla="*/ 1494972 h 1494972"/>
                  <a:gd name="connsiteX7" fmla="*/ 3894 w 2268463"/>
                  <a:gd name="connsiteY7" fmla="*/ 1490209 h 1494972"/>
                  <a:gd name="connsiteX0" fmla="*/ 3894 w 2266100"/>
                  <a:gd name="connsiteY0" fmla="*/ 1484818 h 1489581"/>
                  <a:gd name="connsiteX1" fmla="*/ 41994 w 2266100"/>
                  <a:gd name="connsiteY1" fmla="*/ 1201449 h 1489581"/>
                  <a:gd name="connsiteX2" fmla="*/ 403944 w 2266100"/>
                  <a:gd name="connsiteY2" fmla="*/ 908556 h 1489581"/>
                  <a:gd name="connsiteX3" fmla="*/ 1227857 w 2266100"/>
                  <a:gd name="connsiteY3" fmla="*/ 13992 h 1489581"/>
                  <a:gd name="connsiteX4" fmla="*/ 1981125 w 2266100"/>
                  <a:gd name="connsiteY4" fmla="*/ 378366 h 1489581"/>
                  <a:gd name="connsiteX5" fmla="*/ 2243063 w 2266100"/>
                  <a:gd name="connsiteY5" fmla="*/ 598910 h 1489581"/>
                  <a:gd name="connsiteX6" fmla="*/ 2266082 w 2266100"/>
                  <a:gd name="connsiteY6" fmla="*/ 1489581 h 1489581"/>
                  <a:gd name="connsiteX7" fmla="*/ 3894 w 2266100"/>
                  <a:gd name="connsiteY7" fmla="*/ 1484818 h 1489581"/>
                  <a:gd name="connsiteX0" fmla="*/ 11101 w 2273307"/>
                  <a:gd name="connsiteY0" fmla="*/ 1481432 h 1486195"/>
                  <a:gd name="connsiteX1" fmla="*/ 49201 w 2273307"/>
                  <a:gd name="connsiteY1" fmla="*/ 1198063 h 1486195"/>
                  <a:gd name="connsiteX2" fmla="*/ 523070 w 2273307"/>
                  <a:gd name="connsiteY2" fmla="*/ 823567 h 1486195"/>
                  <a:gd name="connsiteX3" fmla="*/ 1235064 w 2273307"/>
                  <a:gd name="connsiteY3" fmla="*/ 10606 h 1486195"/>
                  <a:gd name="connsiteX4" fmla="*/ 1988332 w 2273307"/>
                  <a:gd name="connsiteY4" fmla="*/ 374980 h 1486195"/>
                  <a:gd name="connsiteX5" fmla="*/ 2250270 w 2273307"/>
                  <a:gd name="connsiteY5" fmla="*/ 595524 h 1486195"/>
                  <a:gd name="connsiteX6" fmla="*/ 2273289 w 2273307"/>
                  <a:gd name="connsiteY6" fmla="*/ 1486195 h 1486195"/>
                  <a:gd name="connsiteX7" fmla="*/ 11101 w 2273307"/>
                  <a:gd name="connsiteY7" fmla="*/ 1481432 h 1486195"/>
                  <a:gd name="connsiteX0" fmla="*/ 8515 w 2270721"/>
                  <a:gd name="connsiteY0" fmla="*/ 1481432 h 1486195"/>
                  <a:gd name="connsiteX1" fmla="*/ 51377 w 2270721"/>
                  <a:gd name="connsiteY1" fmla="*/ 1168595 h 1486195"/>
                  <a:gd name="connsiteX2" fmla="*/ 520484 w 2270721"/>
                  <a:gd name="connsiteY2" fmla="*/ 823567 h 1486195"/>
                  <a:gd name="connsiteX3" fmla="*/ 1232478 w 2270721"/>
                  <a:gd name="connsiteY3" fmla="*/ 10606 h 1486195"/>
                  <a:gd name="connsiteX4" fmla="*/ 1985746 w 2270721"/>
                  <a:gd name="connsiteY4" fmla="*/ 374980 h 1486195"/>
                  <a:gd name="connsiteX5" fmla="*/ 2247684 w 2270721"/>
                  <a:gd name="connsiteY5" fmla="*/ 595524 h 1486195"/>
                  <a:gd name="connsiteX6" fmla="*/ 2270703 w 2270721"/>
                  <a:gd name="connsiteY6" fmla="*/ 1486195 h 1486195"/>
                  <a:gd name="connsiteX7" fmla="*/ 8515 w 2270721"/>
                  <a:gd name="connsiteY7" fmla="*/ 1481432 h 1486195"/>
                  <a:gd name="connsiteX0" fmla="*/ 21078 w 2283284"/>
                  <a:gd name="connsiteY0" fmla="*/ 1481432 h 1486195"/>
                  <a:gd name="connsiteX1" fmla="*/ 63940 w 2283284"/>
                  <a:gd name="connsiteY1" fmla="*/ 1168595 h 1486195"/>
                  <a:gd name="connsiteX2" fmla="*/ 533047 w 2283284"/>
                  <a:gd name="connsiteY2" fmla="*/ 823567 h 1486195"/>
                  <a:gd name="connsiteX3" fmla="*/ 1245041 w 2283284"/>
                  <a:gd name="connsiteY3" fmla="*/ 10606 h 1486195"/>
                  <a:gd name="connsiteX4" fmla="*/ 1998309 w 2283284"/>
                  <a:gd name="connsiteY4" fmla="*/ 374980 h 1486195"/>
                  <a:gd name="connsiteX5" fmla="*/ 2260247 w 2283284"/>
                  <a:gd name="connsiteY5" fmla="*/ 595524 h 1486195"/>
                  <a:gd name="connsiteX6" fmla="*/ 2283266 w 2283284"/>
                  <a:gd name="connsiteY6" fmla="*/ 1486195 h 1486195"/>
                  <a:gd name="connsiteX7" fmla="*/ 21078 w 2283284"/>
                  <a:gd name="connsiteY7" fmla="*/ 1481432 h 1486195"/>
                  <a:gd name="connsiteX0" fmla="*/ 21078 w 2283284"/>
                  <a:gd name="connsiteY0" fmla="*/ 1470874 h 1475637"/>
                  <a:gd name="connsiteX1" fmla="*/ 63940 w 2283284"/>
                  <a:gd name="connsiteY1" fmla="*/ 1158037 h 1475637"/>
                  <a:gd name="connsiteX2" fmla="*/ 533047 w 2283284"/>
                  <a:gd name="connsiteY2" fmla="*/ 813009 h 1475637"/>
                  <a:gd name="connsiteX3" fmla="*/ 1245041 w 2283284"/>
                  <a:gd name="connsiteY3" fmla="*/ 48 h 1475637"/>
                  <a:gd name="connsiteX4" fmla="*/ 1998309 w 2283284"/>
                  <a:gd name="connsiteY4" fmla="*/ 364422 h 1475637"/>
                  <a:gd name="connsiteX5" fmla="*/ 2260247 w 2283284"/>
                  <a:gd name="connsiteY5" fmla="*/ 584966 h 1475637"/>
                  <a:gd name="connsiteX6" fmla="*/ 2283266 w 2283284"/>
                  <a:gd name="connsiteY6" fmla="*/ 1475637 h 1475637"/>
                  <a:gd name="connsiteX7" fmla="*/ 21078 w 2283284"/>
                  <a:gd name="connsiteY7" fmla="*/ 1470874 h 1475637"/>
                  <a:gd name="connsiteX0" fmla="*/ 21078 w 2283284"/>
                  <a:gd name="connsiteY0" fmla="*/ 1470874 h 1475637"/>
                  <a:gd name="connsiteX1" fmla="*/ 63940 w 2283284"/>
                  <a:gd name="connsiteY1" fmla="*/ 1158037 h 1475637"/>
                  <a:gd name="connsiteX2" fmla="*/ 533047 w 2283284"/>
                  <a:gd name="connsiteY2" fmla="*/ 813009 h 1475637"/>
                  <a:gd name="connsiteX3" fmla="*/ 1245041 w 2283284"/>
                  <a:gd name="connsiteY3" fmla="*/ 48 h 1475637"/>
                  <a:gd name="connsiteX4" fmla="*/ 1998309 w 2283284"/>
                  <a:gd name="connsiteY4" fmla="*/ 364422 h 1475637"/>
                  <a:gd name="connsiteX5" fmla="*/ 2260247 w 2283284"/>
                  <a:gd name="connsiteY5" fmla="*/ 584966 h 1475637"/>
                  <a:gd name="connsiteX6" fmla="*/ 2283266 w 2283284"/>
                  <a:gd name="connsiteY6" fmla="*/ 1475637 h 1475637"/>
                  <a:gd name="connsiteX7" fmla="*/ 21078 w 2283284"/>
                  <a:gd name="connsiteY7" fmla="*/ 1470874 h 1475637"/>
                  <a:gd name="connsiteX0" fmla="*/ 21078 w 2283284"/>
                  <a:gd name="connsiteY0" fmla="*/ 1473491 h 1478254"/>
                  <a:gd name="connsiteX1" fmla="*/ 63940 w 2283284"/>
                  <a:gd name="connsiteY1" fmla="*/ 1160654 h 1478254"/>
                  <a:gd name="connsiteX2" fmla="*/ 533047 w 2283284"/>
                  <a:gd name="connsiteY2" fmla="*/ 815626 h 1478254"/>
                  <a:gd name="connsiteX3" fmla="*/ 1245041 w 2283284"/>
                  <a:gd name="connsiteY3" fmla="*/ 2665 h 1478254"/>
                  <a:gd name="connsiteX4" fmla="*/ 2260247 w 2283284"/>
                  <a:gd name="connsiteY4" fmla="*/ 587583 h 1478254"/>
                  <a:gd name="connsiteX5" fmla="*/ 2283266 w 2283284"/>
                  <a:gd name="connsiteY5" fmla="*/ 1478254 h 1478254"/>
                  <a:gd name="connsiteX6" fmla="*/ 21078 w 2283284"/>
                  <a:gd name="connsiteY6" fmla="*/ 1473491 h 1478254"/>
                  <a:gd name="connsiteX0" fmla="*/ 21078 w 2283284"/>
                  <a:gd name="connsiteY0" fmla="*/ 1470827 h 1475590"/>
                  <a:gd name="connsiteX1" fmla="*/ 63940 w 2283284"/>
                  <a:gd name="connsiteY1" fmla="*/ 1157990 h 1475590"/>
                  <a:gd name="connsiteX2" fmla="*/ 533047 w 2283284"/>
                  <a:gd name="connsiteY2" fmla="*/ 812962 h 1475590"/>
                  <a:gd name="connsiteX3" fmla="*/ 1245041 w 2283284"/>
                  <a:gd name="connsiteY3" fmla="*/ 1 h 1475590"/>
                  <a:gd name="connsiteX4" fmla="*/ 2260247 w 2283284"/>
                  <a:gd name="connsiteY4" fmla="*/ 584919 h 1475590"/>
                  <a:gd name="connsiteX5" fmla="*/ 2283266 w 2283284"/>
                  <a:gd name="connsiteY5" fmla="*/ 1475590 h 1475590"/>
                  <a:gd name="connsiteX6" fmla="*/ 21078 w 2283284"/>
                  <a:gd name="connsiteY6" fmla="*/ 1470827 h 1475590"/>
                  <a:gd name="connsiteX0" fmla="*/ 21078 w 2283284"/>
                  <a:gd name="connsiteY0" fmla="*/ 1470827 h 1475590"/>
                  <a:gd name="connsiteX1" fmla="*/ 63940 w 2283284"/>
                  <a:gd name="connsiteY1" fmla="*/ 1157990 h 1475590"/>
                  <a:gd name="connsiteX2" fmla="*/ 533047 w 2283284"/>
                  <a:gd name="connsiteY2" fmla="*/ 812962 h 1475590"/>
                  <a:gd name="connsiteX3" fmla="*/ 1245041 w 2283284"/>
                  <a:gd name="connsiteY3" fmla="*/ 1 h 1475590"/>
                  <a:gd name="connsiteX4" fmla="*/ 2260247 w 2283284"/>
                  <a:gd name="connsiteY4" fmla="*/ 584919 h 1475590"/>
                  <a:gd name="connsiteX5" fmla="*/ 2283266 w 2283284"/>
                  <a:gd name="connsiteY5" fmla="*/ 1475590 h 1475590"/>
                  <a:gd name="connsiteX6" fmla="*/ 21078 w 2283284"/>
                  <a:gd name="connsiteY6" fmla="*/ 1470827 h 1475590"/>
                  <a:gd name="connsiteX0" fmla="*/ 21078 w 2283284"/>
                  <a:gd name="connsiteY0" fmla="*/ 1470967 h 1475730"/>
                  <a:gd name="connsiteX1" fmla="*/ 63940 w 2283284"/>
                  <a:gd name="connsiteY1" fmla="*/ 1158130 h 1475730"/>
                  <a:gd name="connsiteX2" fmla="*/ 533047 w 2283284"/>
                  <a:gd name="connsiteY2" fmla="*/ 813102 h 1475730"/>
                  <a:gd name="connsiteX3" fmla="*/ 1245041 w 2283284"/>
                  <a:gd name="connsiteY3" fmla="*/ 141 h 1475730"/>
                  <a:gd name="connsiteX4" fmla="*/ 2260247 w 2283284"/>
                  <a:gd name="connsiteY4" fmla="*/ 585059 h 1475730"/>
                  <a:gd name="connsiteX5" fmla="*/ 2283266 w 2283284"/>
                  <a:gd name="connsiteY5" fmla="*/ 1475730 h 1475730"/>
                  <a:gd name="connsiteX6" fmla="*/ 21078 w 2283284"/>
                  <a:gd name="connsiteY6" fmla="*/ 1470967 h 1475730"/>
                  <a:gd name="connsiteX0" fmla="*/ 21078 w 2283284"/>
                  <a:gd name="connsiteY0" fmla="*/ 1475500 h 1480263"/>
                  <a:gd name="connsiteX1" fmla="*/ 63940 w 2283284"/>
                  <a:gd name="connsiteY1" fmla="*/ 1162663 h 1480263"/>
                  <a:gd name="connsiteX2" fmla="*/ 533047 w 2283284"/>
                  <a:gd name="connsiteY2" fmla="*/ 817635 h 1480263"/>
                  <a:gd name="connsiteX3" fmla="*/ 1285523 w 2283284"/>
                  <a:gd name="connsiteY3" fmla="*/ 140 h 1480263"/>
                  <a:gd name="connsiteX4" fmla="*/ 2260247 w 2283284"/>
                  <a:gd name="connsiteY4" fmla="*/ 589592 h 1480263"/>
                  <a:gd name="connsiteX5" fmla="*/ 2283266 w 2283284"/>
                  <a:gd name="connsiteY5" fmla="*/ 1480263 h 1480263"/>
                  <a:gd name="connsiteX6" fmla="*/ 21078 w 2283284"/>
                  <a:gd name="connsiteY6" fmla="*/ 1475500 h 1480263"/>
                  <a:gd name="connsiteX0" fmla="*/ 0 w 2360631"/>
                  <a:gd name="connsiteY0" fmla="*/ 1481544 h 1481544"/>
                  <a:gd name="connsiteX1" fmla="*/ 141287 w 2360631"/>
                  <a:gd name="connsiteY1" fmla="*/ 1162663 h 1481544"/>
                  <a:gd name="connsiteX2" fmla="*/ 610394 w 2360631"/>
                  <a:gd name="connsiteY2" fmla="*/ 817635 h 1481544"/>
                  <a:gd name="connsiteX3" fmla="*/ 1362870 w 2360631"/>
                  <a:gd name="connsiteY3" fmla="*/ 140 h 1481544"/>
                  <a:gd name="connsiteX4" fmla="*/ 2337594 w 2360631"/>
                  <a:gd name="connsiteY4" fmla="*/ 589592 h 1481544"/>
                  <a:gd name="connsiteX5" fmla="*/ 2360613 w 2360631"/>
                  <a:gd name="connsiteY5" fmla="*/ 1480263 h 1481544"/>
                  <a:gd name="connsiteX6" fmla="*/ 0 w 2360631"/>
                  <a:gd name="connsiteY6" fmla="*/ 1481544 h 1481544"/>
                  <a:gd name="connsiteX0" fmla="*/ 0 w 2360631"/>
                  <a:gd name="connsiteY0" fmla="*/ 1495469 h 1495469"/>
                  <a:gd name="connsiteX1" fmla="*/ 141287 w 2360631"/>
                  <a:gd name="connsiteY1" fmla="*/ 1176588 h 1495469"/>
                  <a:gd name="connsiteX2" fmla="*/ 324644 w 2360631"/>
                  <a:gd name="connsiteY2" fmla="*/ 211985 h 1495469"/>
                  <a:gd name="connsiteX3" fmla="*/ 1362870 w 2360631"/>
                  <a:gd name="connsiteY3" fmla="*/ 14065 h 1495469"/>
                  <a:gd name="connsiteX4" fmla="*/ 2337594 w 2360631"/>
                  <a:gd name="connsiteY4" fmla="*/ 603517 h 1495469"/>
                  <a:gd name="connsiteX5" fmla="*/ 2360613 w 2360631"/>
                  <a:gd name="connsiteY5" fmla="*/ 1494188 h 1495469"/>
                  <a:gd name="connsiteX6" fmla="*/ 0 w 2360631"/>
                  <a:gd name="connsiteY6" fmla="*/ 1495469 h 1495469"/>
                  <a:gd name="connsiteX0" fmla="*/ 0 w 2360631"/>
                  <a:gd name="connsiteY0" fmla="*/ 1489799 h 1489799"/>
                  <a:gd name="connsiteX1" fmla="*/ 141287 w 2360631"/>
                  <a:gd name="connsiteY1" fmla="*/ 1170918 h 1489799"/>
                  <a:gd name="connsiteX2" fmla="*/ 324644 w 2360631"/>
                  <a:gd name="connsiteY2" fmla="*/ 206315 h 1489799"/>
                  <a:gd name="connsiteX3" fmla="*/ 854870 w 2360631"/>
                  <a:gd name="connsiteY3" fmla="*/ 14440 h 1489799"/>
                  <a:gd name="connsiteX4" fmla="*/ 2337594 w 2360631"/>
                  <a:gd name="connsiteY4" fmla="*/ 597847 h 1489799"/>
                  <a:gd name="connsiteX5" fmla="*/ 2360613 w 2360631"/>
                  <a:gd name="connsiteY5" fmla="*/ 1488518 h 1489799"/>
                  <a:gd name="connsiteX6" fmla="*/ 0 w 2360631"/>
                  <a:gd name="connsiteY6" fmla="*/ 1489799 h 1489799"/>
                  <a:gd name="connsiteX0" fmla="*/ 0 w 2360629"/>
                  <a:gd name="connsiteY0" fmla="*/ 1505848 h 1505848"/>
                  <a:gd name="connsiteX1" fmla="*/ 141287 w 2360629"/>
                  <a:gd name="connsiteY1" fmla="*/ 1186967 h 1505848"/>
                  <a:gd name="connsiteX2" fmla="*/ 324644 w 2360629"/>
                  <a:gd name="connsiteY2" fmla="*/ 222364 h 1505848"/>
                  <a:gd name="connsiteX3" fmla="*/ 854870 w 2360629"/>
                  <a:gd name="connsiteY3" fmla="*/ 30489 h 1505848"/>
                  <a:gd name="connsiteX4" fmla="*/ 2334419 w 2360629"/>
                  <a:gd name="connsiteY4" fmla="*/ 882883 h 1505848"/>
                  <a:gd name="connsiteX5" fmla="*/ 2360613 w 2360629"/>
                  <a:gd name="connsiteY5" fmla="*/ 1504567 h 1505848"/>
                  <a:gd name="connsiteX6" fmla="*/ 0 w 2360629"/>
                  <a:gd name="connsiteY6" fmla="*/ 1505848 h 1505848"/>
                  <a:gd name="connsiteX0" fmla="*/ 0 w 2338465"/>
                  <a:gd name="connsiteY0" fmla="*/ 1505848 h 1505848"/>
                  <a:gd name="connsiteX1" fmla="*/ 141287 w 2338465"/>
                  <a:gd name="connsiteY1" fmla="*/ 1186967 h 1505848"/>
                  <a:gd name="connsiteX2" fmla="*/ 324644 w 2338465"/>
                  <a:gd name="connsiteY2" fmla="*/ 222364 h 1505848"/>
                  <a:gd name="connsiteX3" fmla="*/ 854870 w 2338465"/>
                  <a:gd name="connsiteY3" fmla="*/ 30489 h 1505848"/>
                  <a:gd name="connsiteX4" fmla="*/ 2334419 w 2338465"/>
                  <a:gd name="connsiteY4" fmla="*/ 882883 h 1505848"/>
                  <a:gd name="connsiteX5" fmla="*/ 2338388 w 2338465"/>
                  <a:gd name="connsiteY5" fmla="*/ 1504567 h 1505848"/>
                  <a:gd name="connsiteX6" fmla="*/ 0 w 2338465"/>
                  <a:gd name="connsiteY6" fmla="*/ 1505848 h 1505848"/>
                  <a:gd name="connsiteX0" fmla="*/ 0 w 2338465"/>
                  <a:gd name="connsiteY0" fmla="*/ 1475422 h 1475422"/>
                  <a:gd name="connsiteX1" fmla="*/ 141287 w 2338465"/>
                  <a:gd name="connsiteY1" fmla="*/ 1156541 h 1475422"/>
                  <a:gd name="connsiteX2" fmla="*/ 324644 w 2338465"/>
                  <a:gd name="connsiteY2" fmla="*/ 191938 h 1475422"/>
                  <a:gd name="connsiteX3" fmla="*/ 854870 w 2338465"/>
                  <a:gd name="connsiteY3" fmla="*/ 63 h 1475422"/>
                  <a:gd name="connsiteX4" fmla="*/ 2334419 w 2338465"/>
                  <a:gd name="connsiteY4" fmla="*/ 852457 h 1475422"/>
                  <a:gd name="connsiteX5" fmla="*/ 2338388 w 2338465"/>
                  <a:gd name="connsiteY5" fmla="*/ 1474141 h 1475422"/>
                  <a:gd name="connsiteX6" fmla="*/ 0 w 2338465"/>
                  <a:gd name="connsiteY6" fmla="*/ 1475422 h 1475422"/>
                  <a:gd name="connsiteX0" fmla="*/ 0 w 2338465"/>
                  <a:gd name="connsiteY0" fmla="*/ 1475422 h 1475422"/>
                  <a:gd name="connsiteX1" fmla="*/ 141287 w 2338465"/>
                  <a:gd name="connsiteY1" fmla="*/ 1156541 h 1475422"/>
                  <a:gd name="connsiteX2" fmla="*/ 324644 w 2338465"/>
                  <a:gd name="connsiteY2" fmla="*/ 191938 h 1475422"/>
                  <a:gd name="connsiteX3" fmla="*/ 854870 w 2338465"/>
                  <a:gd name="connsiteY3" fmla="*/ 63 h 1475422"/>
                  <a:gd name="connsiteX4" fmla="*/ 2334419 w 2338465"/>
                  <a:gd name="connsiteY4" fmla="*/ 852457 h 1475422"/>
                  <a:gd name="connsiteX5" fmla="*/ 2338388 w 2338465"/>
                  <a:gd name="connsiteY5" fmla="*/ 1474141 h 1475422"/>
                  <a:gd name="connsiteX6" fmla="*/ 0 w 2338465"/>
                  <a:gd name="connsiteY6" fmla="*/ 1475422 h 1475422"/>
                  <a:gd name="connsiteX0" fmla="*/ 0 w 2338465"/>
                  <a:gd name="connsiteY0" fmla="*/ 1475363 h 1475363"/>
                  <a:gd name="connsiteX1" fmla="*/ 141287 w 2338465"/>
                  <a:gd name="connsiteY1" fmla="*/ 1156482 h 1475363"/>
                  <a:gd name="connsiteX2" fmla="*/ 324644 w 2338465"/>
                  <a:gd name="connsiteY2" fmla="*/ 191879 h 1475363"/>
                  <a:gd name="connsiteX3" fmla="*/ 854870 w 2338465"/>
                  <a:gd name="connsiteY3" fmla="*/ 4 h 1475363"/>
                  <a:gd name="connsiteX4" fmla="*/ 2334419 w 2338465"/>
                  <a:gd name="connsiteY4" fmla="*/ 852398 h 1475363"/>
                  <a:gd name="connsiteX5" fmla="*/ 2338388 w 2338465"/>
                  <a:gd name="connsiteY5" fmla="*/ 1474082 h 1475363"/>
                  <a:gd name="connsiteX6" fmla="*/ 0 w 2338465"/>
                  <a:gd name="connsiteY6" fmla="*/ 1475363 h 1475363"/>
                  <a:gd name="connsiteX0" fmla="*/ 2566 w 2341031"/>
                  <a:gd name="connsiteY0" fmla="*/ 1476950 h 1476950"/>
                  <a:gd name="connsiteX1" fmla="*/ 143853 w 2341031"/>
                  <a:gd name="connsiteY1" fmla="*/ 1158069 h 1476950"/>
                  <a:gd name="connsiteX2" fmla="*/ 31935 w 2341031"/>
                  <a:gd name="connsiteY2" fmla="*/ 637747 h 1476950"/>
                  <a:gd name="connsiteX3" fmla="*/ 857436 w 2341031"/>
                  <a:gd name="connsiteY3" fmla="*/ 1591 h 1476950"/>
                  <a:gd name="connsiteX4" fmla="*/ 2336985 w 2341031"/>
                  <a:gd name="connsiteY4" fmla="*/ 853985 h 1476950"/>
                  <a:gd name="connsiteX5" fmla="*/ 2340954 w 2341031"/>
                  <a:gd name="connsiteY5" fmla="*/ 1475669 h 1476950"/>
                  <a:gd name="connsiteX6" fmla="*/ 2566 w 2341031"/>
                  <a:gd name="connsiteY6" fmla="*/ 1476950 h 1476950"/>
                  <a:gd name="connsiteX0" fmla="*/ 197409 w 2535874"/>
                  <a:gd name="connsiteY0" fmla="*/ 1477505 h 1477505"/>
                  <a:gd name="connsiteX1" fmla="*/ 226778 w 2535874"/>
                  <a:gd name="connsiteY1" fmla="*/ 638302 h 1477505"/>
                  <a:gd name="connsiteX2" fmla="*/ 1052279 w 2535874"/>
                  <a:gd name="connsiteY2" fmla="*/ 2146 h 1477505"/>
                  <a:gd name="connsiteX3" fmla="*/ 2531828 w 2535874"/>
                  <a:gd name="connsiteY3" fmla="*/ 854540 h 1477505"/>
                  <a:gd name="connsiteX4" fmla="*/ 2535797 w 2535874"/>
                  <a:gd name="connsiteY4" fmla="*/ 1476224 h 1477505"/>
                  <a:gd name="connsiteX5" fmla="*/ 197409 w 2535874"/>
                  <a:gd name="connsiteY5" fmla="*/ 1477505 h 1477505"/>
                  <a:gd name="connsiteX0" fmla="*/ 38695 w 2377160"/>
                  <a:gd name="connsiteY0" fmla="*/ 1477505 h 1477505"/>
                  <a:gd name="connsiteX1" fmla="*/ 68064 w 2377160"/>
                  <a:gd name="connsiteY1" fmla="*/ 638302 h 1477505"/>
                  <a:gd name="connsiteX2" fmla="*/ 893565 w 2377160"/>
                  <a:gd name="connsiteY2" fmla="*/ 2146 h 1477505"/>
                  <a:gd name="connsiteX3" fmla="*/ 2373114 w 2377160"/>
                  <a:gd name="connsiteY3" fmla="*/ 854540 h 1477505"/>
                  <a:gd name="connsiteX4" fmla="*/ 2377083 w 2377160"/>
                  <a:gd name="connsiteY4" fmla="*/ 1476224 h 1477505"/>
                  <a:gd name="connsiteX5" fmla="*/ 38695 w 2377160"/>
                  <a:gd name="connsiteY5" fmla="*/ 1477505 h 1477505"/>
                  <a:gd name="connsiteX0" fmla="*/ 0 w 2338465"/>
                  <a:gd name="connsiteY0" fmla="*/ 1489325 h 1489325"/>
                  <a:gd name="connsiteX1" fmla="*/ 118269 w 2338465"/>
                  <a:gd name="connsiteY1" fmla="*/ 420426 h 1489325"/>
                  <a:gd name="connsiteX2" fmla="*/ 854870 w 2338465"/>
                  <a:gd name="connsiteY2" fmla="*/ 13966 h 1489325"/>
                  <a:gd name="connsiteX3" fmla="*/ 2334419 w 2338465"/>
                  <a:gd name="connsiteY3" fmla="*/ 866360 h 1489325"/>
                  <a:gd name="connsiteX4" fmla="*/ 2338388 w 2338465"/>
                  <a:gd name="connsiteY4" fmla="*/ 1488044 h 1489325"/>
                  <a:gd name="connsiteX5" fmla="*/ 0 w 2338465"/>
                  <a:gd name="connsiteY5" fmla="*/ 1489325 h 1489325"/>
                  <a:gd name="connsiteX0" fmla="*/ 0 w 2338465"/>
                  <a:gd name="connsiteY0" fmla="*/ 1486312 h 1486312"/>
                  <a:gd name="connsiteX1" fmla="*/ 118269 w 2338465"/>
                  <a:gd name="connsiteY1" fmla="*/ 417413 h 1486312"/>
                  <a:gd name="connsiteX2" fmla="*/ 854870 w 2338465"/>
                  <a:gd name="connsiteY2" fmla="*/ 10953 h 1486312"/>
                  <a:gd name="connsiteX3" fmla="*/ 2334419 w 2338465"/>
                  <a:gd name="connsiteY3" fmla="*/ 863347 h 1486312"/>
                  <a:gd name="connsiteX4" fmla="*/ 2338388 w 2338465"/>
                  <a:gd name="connsiteY4" fmla="*/ 1485031 h 1486312"/>
                  <a:gd name="connsiteX5" fmla="*/ 0 w 2338465"/>
                  <a:gd name="connsiteY5" fmla="*/ 1486312 h 1486312"/>
                  <a:gd name="connsiteX0" fmla="*/ 0 w 2338465"/>
                  <a:gd name="connsiteY0" fmla="*/ 1475369 h 1475369"/>
                  <a:gd name="connsiteX1" fmla="*/ 118269 w 2338465"/>
                  <a:gd name="connsiteY1" fmla="*/ 406470 h 1475369"/>
                  <a:gd name="connsiteX2" fmla="*/ 854870 w 2338465"/>
                  <a:gd name="connsiteY2" fmla="*/ 10 h 1475369"/>
                  <a:gd name="connsiteX3" fmla="*/ 2334419 w 2338465"/>
                  <a:gd name="connsiteY3" fmla="*/ 852404 h 1475369"/>
                  <a:gd name="connsiteX4" fmla="*/ 2338388 w 2338465"/>
                  <a:gd name="connsiteY4" fmla="*/ 1474088 h 1475369"/>
                  <a:gd name="connsiteX5" fmla="*/ 0 w 2338465"/>
                  <a:gd name="connsiteY5" fmla="*/ 1475369 h 1475369"/>
                  <a:gd name="connsiteX0" fmla="*/ 0 w 2338465"/>
                  <a:gd name="connsiteY0" fmla="*/ 1475369 h 1475369"/>
                  <a:gd name="connsiteX1" fmla="*/ 118269 w 2338465"/>
                  <a:gd name="connsiteY1" fmla="*/ 406470 h 1475369"/>
                  <a:gd name="connsiteX2" fmla="*/ 892970 w 2338465"/>
                  <a:gd name="connsiteY2" fmla="*/ 10 h 1475369"/>
                  <a:gd name="connsiteX3" fmla="*/ 2334419 w 2338465"/>
                  <a:gd name="connsiteY3" fmla="*/ 852404 h 1475369"/>
                  <a:gd name="connsiteX4" fmla="*/ 2338388 w 2338465"/>
                  <a:gd name="connsiteY4" fmla="*/ 1474088 h 1475369"/>
                  <a:gd name="connsiteX5" fmla="*/ 0 w 2338465"/>
                  <a:gd name="connsiteY5" fmla="*/ 1475369 h 1475369"/>
                  <a:gd name="connsiteX0" fmla="*/ 0 w 2338465"/>
                  <a:gd name="connsiteY0" fmla="*/ 1475369 h 1475369"/>
                  <a:gd name="connsiteX1" fmla="*/ 118269 w 2338465"/>
                  <a:gd name="connsiteY1" fmla="*/ 406470 h 1475369"/>
                  <a:gd name="connsiteX2" fmla="*/ 892970 w 2338465"/>
                  <a:gd name="connsiteY2" fmla="*/ 10 h 1475369"/>
                  <a:gd name="connsiteX3" fmla="*/ 2334419 w 2338465"/>
                  <a:gd name="connsiteY3" fmla="*/ 852404 h 1475369"/>
                  <a:gd name="connsiteX4" fmla="*/ 2338388 w 2338465"/>
                  <a:gd name="connsiteY4" fmla="*/ 1474088 h 1475369"/>
                  <a:gd name="connsiteX5" fmla="*/ 0 w 2338465"/>
                  <a:gd name="connsiteY5" fmla="*/ 1475369 h 1475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38465" h="1475369">
                    <a:moveTo>
                      <a:pt x="0" y="1475369"/>
                    </a:moveTo>
                    <a:cubicBezTo>
                      <a:pt x="14684" y="1055767"/>
                      <a:pt x="-24209" y="652363"/>
                      <a:pt x="118269" y="406470"/>
                    </a:cubicBezTo>
                    <a:cubicBezTo>
                      <a:pt x="219472" y="248224"/>
                      <a:pt x="453762" y="-1776"/>
                      <a:pt x="892970" y="10"/>
                    </a:cubicBezTo>
                    <a:cubicBezTo>
                      <a:pt x="1332178" y="1796"/>
                      <a:pt x="1875632" y="711498"/>
                      <a:pt x="2334419" y="852404"/>
                    </a:cubicBezTo>
                    <a:cubicBezTo>
                      <a:pt x="2333625" y="898442"/>
                      <a:pt x="2339182" y="1428050"/>
                      <a:pt x="2338388" y="1474088"/>
                    </a:cubicBezTo>
                    <a:lnTo>
                      <a:pt x="0" y="1475369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68580" tIns="34290" rIns="68580" bIns="34290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350" i="1" dirty="0">
                  <a:solidFill>
                    <a:srgbClr val="FFFFFF"/>
                  </a:solidFill>
                  <a:latin typeface="Imago-Medium" pitchFamily="2" charset="0"/>
                  <a:ea typeface="MS PGothic" pitchFamily="34" charset="-128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CE00E7D-D3BC-49F5-AD5C-3A8367A798D7}"/>
                  </a:ext>
                </a:extLst>
              </p:cNvPr>
              <p:cNvSpPr/>
              <p:nvPr/>
            </p:nvSpPr>
            <p:spPr bwMode="auto">
              <a:xfrm>
                <a:off x="5102913" y="2948862"/>
                <a:ext cx="802610" cy="562886"/>
              </a:xfrm>
              <a:custGeom>
                <a:avLst/>
                <a:gdLst>
                  <a:gd name="connsiteX0" fmla="*/ 0 w 817415"/>
                  <a:gd name="connsiteY0" fmla="*/ 0 h 1224210"/>
                  <a:gd name="connsiteX1" fmla="*/ 85380 w 817415"/>
                  <a:gd name="connsiteY1" fmla="*/ 68117 h 1224210"/>
                  <a:gd name="connsiteX2" fmla="*/ 813446 w 817415"/>
                  <a:gd name="connsiteY2" fmla="*/ 570650 h 1224210"/>
                  <a:gd name="connsiteX3" fmla="*/ 817415 w 817415"/>
                  <a:gd name="connsiteY3" fmla="*/ 1223739 h 1224210"/>
                  <a:gd name="connsiteX4" fmla="*/ 0 w 817415"/>
                  <a:gd name="connsiteY4" fmla="*/ 1224210 h 1224210"/>
                  <a:gd name="connsiteX0" fmla="*/ 0 w 817415"/>
                  <a:gd name="connsiteY0" fmla="*/ 1224210 h 1315650"/>
                  <a:gd name="connsiteX1" fmla="*/ 0 w 817415"/>
                  <a:gd name="connsiteY1" fmla="*/ 0 h 1315650"/>
                  <a:gd name="connsiteX2" fmla="*/ 85380 w 817415"/>
                  <a:gd name="connsiteY2" fmla="*/ 68117 h 1315650"/>
                  <a:gd name="connsiteX3" fmla="*/ 813446 w 817415"/>
                  <a:gd name="connsiteY3" fmla="*/ 570650 h 1315650"/>
                  <a:gd name="connsiteX4" fmla="*/ 817415 w 817415"/>
                  <a:gd name="connsiteY4" fmla="*/ 1223739 h 1315650"/>
                  <a:gd name="connsiteX5" fmla="*/ 91440 w 817415"/>
                  <a:gd name="connsiteY5" fmla="*/ 1315650 h 1315650"/>
                  <a:gd name="connsiteX0" fmla="*/ 0 w 817415"/>
                  <a:gd name="connsiteY0" fmla="*/ 1224210 h 1224210"/>
                  <a:gd name="connsiteX1" fmla="*/ 0 w 817415"/>
                  <a:gd name="connsiteY1" fmla="*/ 0 h 1224210"/>
                  <a:gd name="connsiteX2" fmla="*/ 85380 w 817415"/>
                  <a:gd name="connsiteY2" fmla="*/ 68117 h 1224210"/>
                  <a:gd name="connsiteX3" fmla="*/ 813446 w 817415"/>
                  <a:gd name="connsiteY3" fmla="*/ 570650 h 1224210"/>
                  <a:gd name="connsiteX4" fmla="*/ 817415 w 817415"/>
                  <a:gd name="connsiteY4" fmla="*/ 1223739 h 1224210"/>
                  <a:gd name="connsiteX0" fmla="*/ 0 w 813446"/>
                  <a:gd name="connsiteY0" fmla="*/ 1224210 h 1224210"/>
                  <a:gd name="connsiteX1" fmla="*/ 0 w 813446"/>
                  <a:gd name="connsiteY1" fmla="*/ 0 h 1224210"/>
                  <a:gd name="connsiteX2" fmla="*/ 85380 w 813446"/>
                  <a:gd name="connsiteY2" fmla="*/ 68117 h 1224210"/>
                  <a:gd name="connsiteX3" fmla="*/ 813446 w 813446"/>
                  <a:gd name="connsiteY3" fmla="*/ 570650 h 1224210"/>
                  <a:gd name="connsiteX0" fmla="*/ 0 w 813446"/>
                  <a:gd name="connsiteY0" fmla="*/ 0 h 570650"/>
                  <a:gd name="connsiteX1" fmla="*/ 85380 w 813446"/>
                  <a:gd name="connsiteY1" fmla="*/ 68117 h 570650"/>
                  <a:gd name="connsiteX2" fmla="*/ 813446 w 813446"/>
                  <a:gd name="connsiteY2" fmla="*/ 570650 h 570650"/>
                  <a:gd name="connsiteX0" fmla="*/ 0 w 802478"/>
                  <a:gd name="connsiteY0" fmla="*/ 0 h 562961"/>
                  <a:gd name="connsiteX1" fmla="*/ 74412 w 802478"/>
                  <a:gd name="connsiteY1" fmla="*/ 60428 h 562961"/>
                  <a:gd name="connsiteX2" fmla="*/ 802478 w 802478"/>
                  <a:gd name="connsiteY2" fmla="*/ 562961 h 562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2478" h="562961">
                    <a:moveTo>
                      <a:pt x="0" y="0"/>
                    </a:moveTo>
                    <a:cubicBezTo>
                      <a:pt x="28460" y="22706"/>
                      <a:pt x="45952" y="37722"/>
                      <a:pt x="74412" y="60428"/>
                    </a:cubicBezTo>
                    <a:cubicBezTo>
                      <a:pt x="322524" y="265554"/>
                      <a:pt x="573084" y="488948"/>
                      <a:pt x="802478" y="562961"/>
                    </a:cubicBezTo>
                  </a:path>
                </a:pathLst>
              </a:custGeom>
              <a:noFill/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68580" tIns="34290" rIns="68580" bIns="34290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350" i="1" dirty="0">
                  <a:solidFill>
                    <a:srgbClr val="FFFFFF"/>
                  </a:solidFill>
                  <a:latin typeface="Imago-Medium" pitchFamily="2" charset="0"/>
                  <a:ea typeface="MS PGothic" pitchFamily="34" charset="-128"/>
                </a:endParaRPr>
              </a:p>
            </p:txBody>
          </p: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26097119-DAF1-4F93-8C6A-16EAE95E89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3703490" y="2948862"/>
                <a:ext cx="107231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tx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E63657B6-8282-4EE4-83FA-339FC052F03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3806388" y="2845172"/>
                <a:ext cx="107232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tx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946109E8-520A-4413-8C63-1ADDEB9716A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5041173" y="2948862"/>
                <a:ext cx="107232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tx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292507A3-55E1-447B-B951-D57EAE5D1AF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4900364" y="2845172"/>
                <a:ext cx="107232" cy="0"/>
              </a:xfrm>
              <a:prstGeom prst="line">
                <a:avLst/>
              </a:prstGeom>
              <a:noFill/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tx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103A3F36-5E7B-4683-B33A-F483658B1E48}"/>
                  </a:ext>
                </a:extLst>
              </p:cNvPr>
              <p:cNvSpPr/>
              <p:nvPr/>
            </p:nvSpPr>
            <p:spPr bwMode="auto">
              <a:xfrm>
                <a:off x="3571346" y="2952280"/>
                <a:ext cx="188467" cy="1212370"/>
              </a:xfrm>
              <a:custGeom>
                <a:avLst/>
                <a:gdLst>
                  <a:gd name="connsiteX0" fmla="*/ 196150 w 1091473"/>
                  <a:gd name="connsiteY0" fmla="*/ 0 h 1230349"/>
                  <a:gd name="connsiteX1" fmla="*/ 1091473 w 1091473"/>
                  <a:gd name="connsiteY1" fmla="*/ 0 h 1230349"/>
                  <a:gd name="connsiteX2" fmla="*/ 1091473 w 1091473"/>
                  <a:gd name="connsiteY2" fmla="*/ 1229721 h 1230349"/>
                  <a:gd name="connsiteX3" fmla="*/ 0 w 1091473"/>
                  <a:gd name="connsiteY3" fmla="*/ 1230349 h 1230349"/>
                  <a:gd name="connsiteX4" fmla="*/ 118269 w 1091473"/>
                  <a:gd name="connsiteY4" fmla="*/ 107452 h 1230349"/>
                  <a:gd name="connsiteX5" fmla="*/ 162599 w 1091473"/>
                  <a:gd name="connsiteY5" fmla="*/ 41299 h 1230349"/>
                  <a:gd name="connsiteX0" fmla="*/ 1091473 w 1182913"/>
                  <a:gd name="connsiteY0" fmla="*/ 0 h 1230349"/>
                  <a:gd name="connsiteX1" fmla="*/ 1091473 w 1182913"/>
                  <a:gd name="connsiteY1" fmla="*/ 1229721 h 1230349"/>
                  <a:gd name="connsiteX2" fmla="*/ 0 w 1182913"/>
                  <a:gd name="connsiteY2" fmla="*/ 1230349 h 1230349"/>
                  <a:gd name="connsiteX3" fmla="*/ 118269 w 1182913"/>
                  <a:gd name="connsiteY3" fmla="*/ 107452 h 1230349"/>
                  <a:gd name="connsiteX4" fmla="*/ 162599 w 1182913"/>
                  <a:gd name="connsiteY4" fmla="*/ 41299 h 1230349"/>
                  <a:gd name="connsiteX5" fmla="*/ 196150 w 1182913"/>
                  <a:gd name="connsiteY5" fmla="*/ 0 h 1230349"/>
                  <a:gd name="connsiteX6" fmla="*/ 1182913 w 1182913"/>
                  <a:gd name="connsiteY6" fmla="*/ 91440 h 1230349"/>
                  <a:gd name="connsiteX0" fmla="*/ 1091473 w 1091473"/>
                  <a:gd name="connsiteY0" fmla="*/ 0 h 1230349"/>
                  <a:gd name="connsiteX1" fmla="*/ 1091473 w 1091473"/>
                  <a:gd name="connsiteY1" fmla="*/ 1229721 h 1230349"/>
                  <a:gd name="connsiteX2" fmla="*/ 0 w 1091473"/>
                  <a:gd name="connsiteY2" fmla="*/ 1230349 h 1230349"/>
                  <a:gd name="connsiteX3" fmla="*/ 118269 w 1091473"/>
                  <a:gd name="connsiteY3" fmla="*/ 107452 h 1230349"/>
                  <a:gd name="connsiteX4" fmla="*/ 162599 w 1091473"/>
                  <a:gd name="connsiteY4" fmla="*/ 41299 h 1230349"/>
                  <a:gd name="connsiteX5" fmla="*/ 196150 w 1091473"/>
                  <a:gd name="connsiteY5" fmla="*/ 0 h 1230349"/>
                  <a:gd name="connsiteX0" fmla="*/ 1091473 w 1091473"/>
                  <a:gd name="connsiteY0" fmla="*/ 1229721 h 1230349"/>
                  <a:gd name="connsiteX1" fmla="*/ 0 w 1091473"/>
                  <a:gd name="connsiteY1" fmla="*/ 1230349 h 1230349"/>
                  <a:gd name="connsiteX2" fmla="*/ 118269 w 1091473"/>
                  <a:gd name="connsiteY2" fmla="*/ 107452 h 1230349"/>
                  <a:gd name="connsiteX3" fmla="*/ 162599 w 1091473"/>
                  <a:gd name="connsiteY3" fmla="*/ 41299 h 1230349"/>
                  <a:gd name="connsiteX4" fmla="*/ 196150 w 1091473"/>
                  <a:gd name="connsiteY4" fmla="*/ 0 h 1230349"/>
                  <a:gd name="connsiteX0" fmla="*/ 1091473 w 1091473"/>
                  <a:gd name="connsiteY0" fmla="*/ 1218128 h 1218756"/>
                  <a:gd name="connsiteX1" fmla="*/ 0 w 1091473"/>
                  <a:gd name="connsiteY1" fmla="*/ 1218756 h 1218756"/>
                  <a:gd name="connsiteX2" fmla="*/ 118269 w 1091473"/>
                  <a:gd name="connsiteY2" fmla="*/ 95859 h 1218756"/>
                  <a:gd name="connsiteX3" fmla="*/ 162599 w 1091473"/>
                  <a:gd name="connsiteY3" fmla="*/ 29706 h 1218756"/>
                  <a:gd name="connsiteX4" fmla="*/ 188838 w 1091473"/>
                  <a:gd name="connsiteY4" fmla="*/ 0 h 1218756"/>
                  <a:gd name="connsiteX0" fmla="*/ 0 w 188838"/>
                  <a:gd name="connsiteY0" fmla="*/ 1218756 h 1218756"/>
                  <a:gd name="connsiteX1" fmla="*/ 118269 w 188838"/>
                  <a:gd name="connsiteY1" fmla="*/ 95859 h 1218756"/>
                  <a:gd name="connsiteX2" fmla="*/ 162599 w 188838"/>
                  <a:gd name="connsiteY2" fmla="*/ 29706 h 1218756"/>
                  <a:gd name="connsiteX3" fmla="*/ 188838 w 188838"/>
                  <a:gd name="connsiteY3" fmla="*/ 0 h 1218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8838" h="1218756">
                    <a:moveTo>
                      <a:pt x="0" y="1218756"/>
                    </a:moveTo>
                    <a:cubicBezTo>
                      <a:pt x="14684" y="777957"/>
                      <a:pt x="-24209" y="354174"/>
                      <a:pt x="118269" y="95859"/>
                    </a:cubicBezTo>
                    <a:cubicBezTo>
                      <a:pt x="130920" y="75079"/>
                      <a:pt x="145650" y="52793"/>
                      <a:pt x="162599" y="29706"/>
                    </a:cubicBezTo>
                    <a:cubicBezTo>
                      <a:pt x="173783" y="15940"/>
                      <a:pt x="177654" y="13766"/>
                      <a:pt x="188838" y="0"/>
                    </a:cubicBezTo>
                  </a:path>
                </a:pathLst>
              </a:custGeom>
              <a:noFill/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68580" tIns="34290" rIns="68580" bIns="34290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350" i="1" dirty="0">
                  <a:solidFill>
                    <a:srgbClr val="FFFFFF"/>
                  </a:solidFill>
                  <a:latin typeface="Imago-Medium" pitchFamily="2" charset="0"/>
                  <a:ea typeface="MS PGothic" pitchFamily="34" charset="-128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5280AAE7-EC49-47BA-B025-BE4F9AB23AA6}"/>
                  </a:ext>
                </a:extLst>
              </p:cNvPr>
              <p:cNvSpPr/>
              <p:nvPr/>
            </p:nvSpPr>
            <p:spPr bwMode="auto">
              <a:xfrm>
                <a:off x="3854047" y="2616144"/>
                <a:ext cx="1111306" cy="229028"/>
              </a:xfrm>
              <a:custGeom>
                <a:avLst/>
                <a:gdLst>
                  <a:gd name="connsiteX0" fmla="*/ 604872 w 1101505"/>
                  <a:gd name="connsiteY0" fmla="*/ 11 h 222295"/>
                  <a:gd name="connsiteX1" fmla="*/ 1041405 w 1101505"/>
                  <a:gd name="connsiteY1" fmla="*/ 178714 h 222295"/>
                  <a:gd name="connsiteX2" fmla="*/ 1101505 w 1101505"/>
                  <a:gd name="connsiteY2" fmla="*/ 222295 h 222295"/>
                  <a:gd name="connsiteX3" fmla="*/ 0 w 1101505"/>
                  <a:gd name="connsiteY3" fmla="*/ 222295 h 222295"/>
                  <a:gd name="connsiteX4" fmla="*/ 3959 w 1101505"/>
                  <a:gd name="connsiteY4" fmla="*/ 218351 h 222295"/>
                  <a:gd name="connsiteX5" fmla="*/ 604872 w 1101505"/>
                  <a:gd name="connsiteY5" fmla="*/ 11 h 222295"/>
                  <a:gd name="connsiteX0" fmla="*/ 3959 w 1101505"/>
                  <a:gd name="connsiteY0" fmla="*/ 218351 h 309791"/>
                  <a:gd name="connsiteX1" fmla="*/ 604872 w 1101505"/>
                  <a:gd name="connsiteY1" fmla="*/ 11 h 309791"/>
                  <a:gd name="connsiteX2" fmla="*/ 1041405 w 1101505"/>
                  <a:gd name="connsiteY2" fmla="*/ 178714 h 309791"/>
                  <a:gd name="connsiteX3" fmla="*/ 1101505 w 1101505"/>
                  <a:gd name="connsiteY3" fmla="*/ 222295 h 309791"/>
                  <a:gd name="connsiteX4" fmla="*/ 0 w 1101505"/>
                  <a:gd name="connsiteY4" fmla="*/ 222295 h 309791"/>
                  <a:gd name="connsiteX5" fmla="*/ 95399 w 1101505"/>
                  <a:gd name="connsiteY5" fmla="*/ 309791 h 309791"/>
                  <a:gd name="connsiteX0" fmla="*/ 3959 w 1101505"/>
                  <a:gd name="connsiteY0" fmla="*/ 218351 h 222295"/>
                  <a:gd name="connsiteX1" fmla="*/ 604872 w 1101505"/>
                  <a:gd name="connsiteY1" fmla="*/ 11 h 222295"/>
                  <a:gd name="connsiteX2" fmla="*/ 1041405 w 1101505"/>
                  <a:gd name="connsiteY2" fmla="*/ 178714 h 222295"/>
                  <a:gd name="connsiteX3" fmla="*/ 1101505 w 1101505"/>
                  <a:gd name="connsiteY3" fmla="*/ 222295 h 222295"/>
                  <a:gd name="connsiteX4" fmla="*/ 0 w 1101505"/>
                  <a:gd name="connsiteY4" fmla="*/ 222295 h 222295"/>
                  <a:gd name="connsiteX0" fmla="*/ 0 w 1097546"/>
                  <a:gd name="connsiteY0" fmla="*/ 218351 h 222295"/>
                  <a:gd name="connsiteX1" fmla="*/ 600913 w 1097546"/>
                  <a:gd name="connsiteY1" fmla="*/ 11 h 222295"/>
                  <a:gd name="connsiteX2" fmla="*/ 1037446 w 1097546"/>
                  <a:gd name="connsiteY2" fmla="*/ 178714 h 222295"/>
                  <a:gd name="connsiteX3" fmla="*/ 1097546 w 1097546"/>
                  <a:gd name="connsiteY3" fmla="*/ 222295 h 222295"/>
                  <a:gd name="connsiteX0" fmla="*/ 0 w 1109733"/>
                  <a:gd name="connsiteY0" fmla="*/ 231789 h 231789"/>
                  <a:gd name="connsiteX1" fmla="*/ 613100 w 1109733"/>
                  <a:gd name="connsiteY1" fmla="*/ 635 h 231789"/>
                  <a:gd name="connsiteX2" fmla="*/ 1049633 w 1109733"/>
                  <a:gd name="connsiteY2" fmla="*/ 179338 h 231789"/>
                  <a:gd name="connsiteX3" fmla="*/ 1109733 w 1109733"/>
                  <a:gd name="connsiteY3" fmla="*/ 222919 h 231789"/>
                  <a:gd name="connsiteX0" fmla="*/ 0 w 1109733"/>
                  <a:gd name="connsiteY0" fmla="*/ 231789 h 231789"/>
                  <a:gd name="connsiteX1" fmla="*/ 613100 w 1109733"/>
                  <a:gd name="connsiteY1" fmla="*/ 635 h 231789"/>
                  <a:gd name="connsiteX2" fmla="*/ 1049633 w 1109733"/>
                  <a:gd name="connsiteY2" fmla="*/ 179338 h 231789"/>
                  <a:gd name="connsiteX3" fmla="*/ 1109733 w 1109733"/>
                  <a:gd name="connsiteY3" fmla="*/ 222919 h 231789"/>
                  <a:gd name="connsiteX0" fmla="*/ 0 w 1109733"/>
                  <a:gd name="connsiteY0" fmla="*/ 231207 h 231207"/>
                  <a:gd name="connsiteX1" fmla="*/ 613100 w 1109733"/>
                  <a:gd name="connsiteY1" fmla="*/ 53 h 231207"/>
                  <a:gd name="connsiteX2" fmla="*/ 1049633 w 1109733"/>
                  <a:gd name="connsiteY2" fmla="*/ 178756 h 231207"/>
                  <a:gd name="connsiteX3" fmla="*/ 1109733 w 1109733"/>
                  <a:gd name="connsiteY3" fmla="*/ 222337 h 231207"/>
                  <a:gd name="connsiteX0" fmla="*/ 0 w 1114608"/>
                  <a:gd name="connsiteY0" fmla="*/ 231207 h 231207"/>
                  <a:gd name="connsiteX1" fmla="*/ 613100 w 1114608"/>
                  <a:gd name="connsiteY1" fmla="*/ 53 h 231207"/>
                  <a:gd name="connsiteX2" fmla="*/ 1049633 w 1114608"/>
                  <a:gd name="connsiteY2" fmla="*/ 178756 h 231207"/>
                  <a:gd name="connsiteX3" fmla="*/ 1114608 w 1114608"/>
                  <a:gd name="connsiteY3" fmla="*/ 228744 h 231207"/>
                  <a:gd name="connsiteX0" fmla="*/ 0 w 1112171"/>
                  <a:gd name="connsiteY0" fmla="*/ 226554 h 229217"/>
                  <a:gd name="connsiteX1" fmla="*/ 610663 w 1112171"/>
                  <a:gd name="connsiteY1" fmla="*/ 526 h 229217"/>
                  <a:gd name="connsiteX2" fmla="*/ 1047196 w 1112171"/>
                  <a:gd name="connsiteY2" fmla="*/ 179229 h 229217"/>
                  <a:gd name="connsiteX3" fmla="*/ 1112171 w 1112171"/>
                  <a:gd name="connsiteY3" fmla="*/ 229217 h 229217"/>
                  <a:gd name="connsiteX0" fmla="*/ 0 w 1112171"/>
                  <a:gd name="connsiteY0" fmla="*/ 226554 h 229217"/>
                  <a:gd name="connsiteX1" fmla="*/ 588727 w 1112171"/>
                  <a:gd name="connsiteY1" fmla="*/ 526 h 229217"/>
                  <a:gd name="connsiteX2" fmla="*/ 1047196 w 1112171"/>
                  <a:gd name="connsiteY2" fmla="*/ 179229 h 229217"/>
                  <a:gd name="connsiteX3" fmla="*/ 1112171 w 1112171"/>
                  <a:gd name="connsiteY3" fmla="*/ 229217 h 229217"/>
                  <a:gd name="connsiteX0" fmla="*/ 0 w 1112171"/>
                  <a:gd name="connsiteY0" fmla="*/ 226101 h 228764"/>
                  <a:gd name="connsiteX1" fmla="*/ 588727 w 1112171"/>
                  <a:gd name="connsiteY1" fmla="*/ 73 h 228764"/>
                  <a:gd name="connsiteX2" fmla="*/ 1047196 w 1112171"/>
                  <a:gd name="connsiteY2" fmla="*/ 178776 h 228764"/>
                  <a:gd name="connsiteX3" fmla="*/ 1112171 w 1112171"/>
                  <a:gd name="connsiteY3" fmla="*/ 228764 h 228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2171" h="228764">
                    <a:moveTo>
                      <a:pt x="0" y="226101"/>
                    </a:moveTo>
                    <a:cubicBezTo>
                      <a:pt x="246507" y="12626"/>
                      <a:pt x="414040" y="2957"/>
                      <a:pt x="588727" y="73"/>
                    </a:cubicBezTo>
                    <a:cubicBezTo>
                      <a:pt x="755948" y="-2688"/>
                      <a:pt x="895349" y="73870"/>
                      <a:pt x="1047196" y="178776"/>
                    </a:cubicBezTo>
                    <a:lnTo>
                      <a:pt x="1112171" y="228764"/>
                    </a:lnTo>
                  </a:path>
                </a:pathLst>
              </a:custGeom>
              <a:noFill/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68580" tIns="34290" rIns="68580" bIns="34290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350" i="1" dirty="0">
                  <a:solidFill>
                    <a:srgbClr val="FFFFFF"/>
                  </a:solidFill>
                  <a:latin typeface="Imago-Medium" pitchFamily="2" charset="0"/>
                  <a:ea typeface="MS PGothic" pitchFamily="34" charset="-128"/>
                </a:endParaRPr>
              </a:p>
            </p:txBody>
          </p:sp>
        </p:grpSp>
        <p:grpSp>
          <p:nvGrpSpPr>
            <p:cNvPr id="56334" name="Group 6">
              <a:extLst>
                <a:ext uri="{FF2B5EF4-FFF2-40B4-BE49-F238E27FC236}">
                  <a16:creationId xmlns:a16="http://schemas.microsoft.com/office/drawing/2014/main" id="{3302459C-463B-4FFF-970A-6607CC5F706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7487" y="1790759"/>
              <a:ext cx="7496261" cy="4340463"/>
              <a:chOff x="382346" y="1838384"/>
              <a:chExt cx="7496261" cy="4340463"/>
            </a:xfrm>
          </p:grpSpPr>
          <p:grpSp>
            <p:nvGrpSpPr>
              <p:cNvPr id="56335" name="Group 12">
                <a:extLst>
                  <a:ext uri="{FF2B5EF4-FFF2-40B4-BE49-F238E27FC236}">
                    <a16:creationId xmlns:a16="http://schemas.microsoft.com/office/drawing/2014/main" id="{4C397512-76DA-4A91-BE09-C3F16DB5A27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2346" y="1838384"/>
                <a:ext cx="7496261" cy="4340463"/>
                <a:chOff x="468424" y="1958175"/>
                <a:chExt cx="6693063" cy="3875395"/>
              </a:xfrm>
            </p:grpSpPr>
            <p:sp>
              <p:nvSpPr>
                <p:cNvPr id="112" name="Right Triangle 111">
                  <a:extLst>
                    <a:ext uri="{FF2B5EF4-FFF2-40B4-BE49-F238E27FC236}">
                      <a16:creationId xmlns:a16="http://schemas.microsoft.com/office/drawing/2014/main" id="{E4909EF1-3863-4F77-8ED9-29535DA0D686}"/>
                    </a:ext>
                  </a:extLst>
                </p:cNvPr>
                <p:cNvSpPr/>
                <p:nvPr/>
              </p:nvSpPr>
              <p:spPr>
                <a:xfrm>
                  <a:off x="3074222" y="4417632"/>
                  <a:ext cx="4064590" cy="1017055"/>
                </a:xfrm>
                <a:prstGeom prst="rt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lIns="68580" tIns="34290" rIns="68580" bIns="34290"/>
                <a:lstStyle/>
                <a:p>
                  <a:pPr defTabSz="6858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lang="de-CH" sz="1350">
                    <a:solidFill>
                      <a:srgbClr val="FFFFFF"/>
                    </a:solidFill>
                    <a:latin typeface="Imago" pitchFamily="2" charset="0"/>
                    <a:ea typeface="MS PGothic" pitchFamily="34" charset="-128"/>
                  </a:endParaRPr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D91CB838-D474-496D-881F-4A1CA08E8174}"/>
                    </a:ext>
                  </a:extLst>
                </p:cNvPr>
                <p:cNvSpPr/>
                <p:nvPr/>
              </p:nvSpPr>
              <p:spPr>
                <a:xfrm>
                  <a:off x="923825" y="4744679"/>
                  <a:ext cx="5289069" cy="690009"/>
                </a:xfrm>
                <a:custGeom>
                  <a:avLst/>
                  <a:gdLst>
                    <a:gd name="connsiteX0" fmla="*/ 0 w 4273296"/>
                    <a:gd name="connsiteY0" fmla="*/ 579120 h 579120"/>
                    <a:gd name="connsiteX1" fmla="*/ 0 w 4273296"/>
                    <a:gd name="connsiteY1" fmla="*/ 432816 h 579120"/>
                    <a:gd name="connsiteX2" fmla="*/ 463296 w 4273296"/>
                    <a:gd name="connsiteY2" fmla="*/ 432816 h 579120"/>
                    <a:gd name="connsiteX3" fmla="*/ 463296 w 4273296"/>
                    <a:gd name="connsiteY3" fmla="*/ 280416 h 579120"/>
                    <a:gd name="connsiteX4" fmla="*/ 914400 w 4273296"/>
                    <a:gd name="connsiteY4" fmla="*/ 280416 h 579120"/>
                    <a:gd name="connsiteX5" fmla="*/ 914400 w 4273296"/>
                    <a:gd name="connsiteY5" fmla="*/ 0 h 579120"/>
                    <a:gd name="connsiteX6" fmla="*/ 1731264 w 4273296"/>
                    <a:gd name="connsiteY6" fmla="*/ 0 h 579120"/>
                    <a:gd name="connsiteX7" fmla="*/ 1731264 w 4273296"/>
                    <a:gd name="connsiteY7" fmla="*/ 316992 h 579120"/>
                    <a:gd name="connsiteX8" fmla="*/ 2462784 w 4273296"/>
                    <a:gd name="connsiteY8" fmla="*/ 316992 h 579120"/>
                    <a:gd name="connsiteX9" fmla="*/ 2462784 w 4273296"/>
                    <a:gd name="connsiteY9" fmla="*/ 396240 h 579120"/>
                    <a:gd name="connsiteX10" fmla="*/ 3352800 w 4273296"/>
                    <a:gd name="connsiteY10" fmla="*/ 396240 h 579120"/>
                    <a:gd name="connsiteX11" fmla="*/ 3352800 w 4273296"/>
                    <a:gd name="connsiteY11" fmla="*/ 475488 h 579120"/>
                    <a:gd name="connsiteX12" fmla="*/ 4273296 w 4273296"/>
                    <a:gd name="connsiteY12" fmla="*/ 475488 h 579120"/>
                    <a:gd name="connsiteX13" fmla="*/ 4261104 w 4273296"/>
                    <a:gd name="connsiteY13" fmla="*/ 579120 h 579120"/>
                    <a:gd name="connsiteX0" fmla="*/ 0 w 4274439"/>
                    <a:gd name="connsiteY0" fmla="*/ 579120 h 581025"/>
                    <a:gd name="connsiteX1" fmla="*/ 0 w 4274439"/>
                    <a:gd name="connsiteY1" fmla="*/ 432816 h 581025"/>
                    <a:gd name="connsiteX2" fmla="*/ 463296 w 4274439"/>
                    <a:gd name="connsiteY2" fmla="*/ 432816 h 581025"/>
                    <a:gd name="connsiteX3" fmla="*/ 463296 w 4274439"/>
                    <a:gd name="connsiteY3" fmla="*/ 280416 h 581025"/>
                    <a:gd name="connsiteX4" fmla="*/ 914400 w 4274439"/>
                    <a:gd name="connsiteY4" fmla="*/ 280416 h 581025"/>
                    <a:gd name="connsiteX5" fmla="*/ 914400 w 4274439"/>
                    <a:gd name="connsiteY5" fmla="*/ 0 h 581025"/>
                    <a:gd name="connsiteX6" fmla="*/ 1731264 w 4274439"/>
                    <a:gd name="connsiteY6" fmla="*/ 0 h 581025"/>
                    <a:gd name="connsiteX7" fmla="*/ 1731264 w 4274439"/>
                    <a:gd name="connsiteY7" fmla="*/ 316992 h 581025"/>
                    <a:gd name="connsiteX8" fmla="*/ 2462784 w 4274439"/>
                    <a:gd name="connsiteY8" fmla="*/ 316992 h 581025"/>
                    <a:gd name="connsiteX9" fmla="*/ 2462784 w 4274439"/>
                    <a:gd name="connsiteY9" fmla="*/ 396240 h 581025"/>
                    <a:gd name="connsiteX10" fmla="*/ 3352800 w 4274439"/>
                    <a:gd name="connsiteY10" fmla="*/ 396240 h 581025"/>
                    <a:gd name="connsiteX11" fmla="*/ 3352800 w 4274439"/>
                    <a:gd name="connsiteY11" fmla="*/ 475488 h 581025"/>
                    <a:gd name="connsiteX12" fmla="*/ 4273296 w 4274439"/>
                    <a:gd name="connsiteY12" fmla="*/ 475488 h 581025"/>
                    <a:gd name="connsiteX13" fmla="*/ 4274439 w 4274439"/>
                    <a:gd name="connsiteY13" fmla="*/ 581025 h 581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274439" h="581025">
                      <a:moveTo>
                        <a:pt x="0" y="579120"/>
                      </a:moveTo>
                      <a:lnTo>
                        <a:pt x="0" y="432816"/>
                      </a:lnTo>
                      <a:lnTo>
                        <a:pt x="463296" y="432816"/>
                      </a:lnTo>
                      <a:lnTo>
                        <a:pt x="463296" y="280416"/>
                      </a:lnTo>
                      <a:lnTo>
                        <a:pt x="914400" y="280416"/>
                      </a:lnTo>
                      <a:lnTo>
                        <a:pt x="914400" y="0"/>
                      </a:lnTo>
                      <a:lnTo>
                        <a:pt x="1731264" y="0"/>
                      </a:lnTo>
                      <a:lnTo>
                        <a:pt x="1731264" y="316992"/>
                      </a:lnTo>
                      <a:lnTo>
                        <a:pt x="2462784" y="316992"/>
                      </a:lnTo>
                      <a:lnTo>
                        <a:pt x="2462784" y="396240"/>
                      </a:lnTo>
                      <a:lnTo>
                        <a:pt x="3352800" y="396240"/>
                      </a:lnTo>
                      <a:lnTo>
                        <a:pt x="3352800" y="475488"/>
                      </a:lnTo>
                      <a:lnTo>
                        <a:pt x="4273296" y="475488"/>
                      </a:lnTo>
                      <a:lnTo>
                        <a:pt x="4274439" y="581025"/>
                      </a:lnTo>
                    </a:path>
                  </a:pathLst>
                </a:custGeom>
                <a:solidFill>
                  <a:srgbClr val="BABABA"/>
                </a:solidFill>
                <a:ln>
                  <a:noFill/>
                </a:ln>
              </p:spPr>
              <p:txBody>
                <a:bodyPr lIns="68580" tIns="34290" rIns="68580" bIns="34290"/>
                <a:lstStyle/>
                <a:p>
                  <a:pPr defTabSz="6858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lang="de-CH" sz="1350" dirty="0">
                    <a:solidFill>
                      <a:srgbClr val="FFFFFF"/>
                    </a:solidFill>
                    <a:latin typeface="Imago" pitchFamily="2" charset="0"/>
                    <a:ea typeface="MS PGothic" pitchFamily="34" charset="-128"/>
                  </a:endParaRPr>
                </a:p>
              </p:txBody>
            </p:sp>
            <p:cxnSp>
              <p:nvCxnSpPr>
                <p:cNvPr id="56339" name="Straight Arrow Connector 89">
                  <a:extLst>
                    <a:ext uri="{FF2B5EF4-FFF2-40B4-BE49-F238E27FC236}">
                      <a16:creationId xmlns:a16="http://schemas.microsoft.com/office/drawing/2014/main" id="{5ACE5331-8AB7-4A33-BFCA-D1D2D5744A2A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>
                  <a:off x="920625" y="5441687"/>
                  <a:ext cx="6240862" cy="0"/>
                </a:xfrm>
                <a:prstGeom prst="straightConnector1">
                  <a:avLst/>
                </a:prstGeom>
                <a:noFill/>
                <a:ln w="19050" algn="ctr">
                  <a:solidFill>
                    <a:schemeClr val="bg2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D0FABC0F-78B9-4D9C-B194-52D5BF63CC9A}"/>
                    </a:ext>
                  </a:extLst>
                </p:cNvPr>
                <p:cNvSpPr txBox="1"/>
                <p:nvPr/>
              </p:nvSpPr>
              <p:spPr>
                <a:xfrm>
                  <a:off x="903038" y="5476277"/>
                  <a:ext cx="6239552" cy="357293"/>
                </a:xfrm>
                <a:prstGeom prst="rect">
                  <a:avLst/>
                </a:prstGeom>
                <a:noFill/>
              </p:spPr>
              <p:txBody>
                <a:bodyPr/>
                <a:lstStyle/>
                <a:p>
                  <a:pPr algn="ctr" defTabSz="913073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de-CH" sz="1350" b="1" dirty="0">
                      <a:solidFill>
                        <a:srgbClr val="000000"/>
                      </a:solidFill>
                      <a:latin typeface="Imago"/>
                      <a:ea typeface="MS PGothic" pitchFamily="34" charset="-128"/>
                    </a:rPr>
                    <a:t>Time (years)</a:t>
                  </a: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FB769828-EEB3-4D1B-BD42-0390D9F80BC6}"/>
                    </a:ext>
                  </a:extLst>
                </p:cNvPr>
                <p:cNvSpPr txBox="1"/>
                <p:nvPr/>
              </p:nvSpPr>
              <p:spPr>
                <a:xfrm rot="16200000">
                  <a:off x="-993905" y="3622780"/>
                  <a:ext cx="3281798" cy="357140"/>
                </a:xfrm>
                <a:prstGeom prst="rect">
                  <a:avLst/>
                </a:prstGeom>
                <a:noFill/>
              </p:spPr>
              <p:txBody>
                <a:bodyPr/>
                <a:lstStyle/>
                <a:p>
                  <a:pPr algn="ctr" defTabSz="68580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de-CH" sz="1350" b="1" dirty="0">
                      <a:solidFill>
                        <a:srgbClr val="000000"/>
                      </a:solidFill>
                      <a:latin typeface="Imago"/>
                      <a:ea typeface="MS PGothic" pitchFamily="34" charset="-128"/>
                    </a:rPr>
                    <a:t>Number of patients treated</a:t>
                  </a:r>
                  <a:r>
                    <a:rPr lang="de-CH" sz="1350" b="1" baseline="30000" dirty="0">
                      <a:solidFill>
                        <a:srgbClr val="000000"/>
                      </a:solidFill>
                      <a:latin typeface="Imago"/>
                      <a:ea typeface="MS PGothic" pitchFamily="34" charset="-128"/>
                    </a:rPr>
                    <a:t>2</a:t>
                  </a:r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6A5CC2A4-F618-4000-B1EC-07290D364AF3}"/>
                    </a:ext>
                  </a:extLst>
                </p:cNvPr>
                <p:cNvSpPr txBox="1"/>
                <p:nvPr/>
              </p:nvSpPr>
              <p:spPr>
                <a:xfrm>
                  <a:off x="2639607" y="1958175"/>
                  <a:ext cx="1075198" cy="357292"/>
                </a:xfrm>
                <a:prstGeom prst="rect">
                  <a:avLst/>
                </a:prstGeom>
                <a:noFill/>
              </p:spPr>
              <p:txBody>
                <a:bodyPr wrap="none"/>
                <a:lstStyle/>
                <a:p>
                  <a:pPr defTabSz="68580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de-CH" sz="1350" b="1" dirty="0">
                      <a:solidFill>
                        <a:srgbClr val="000000"/>
                      </a:solidFill>
                      <a:latin typeface="Imago"/>
                      <a:ea typeface="MS PGothic" pitchFamily="34" charset="-128"/>
                    </a:rPr>
                    <a:t>Approval</a:t>
                  </a:r>
                </a:p>
              </p:txBody>
            </p: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C4AEA8E5-1C38-4535-AEDE-D2706D954E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V="1">
                  <a:off x="3062884" y="2251192"/>
                  <a:ext cx="0" cy="1005712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tx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Straight Connector 97">
                  <a:extLst>
                    <a:ext uri="{FF2B5EF4-FFF2-40B4-BE49-F238E27FC236}">
                      <a16:creationId xmlns:a16="http://schemas.microsoft.com/office/drawing/2014/main" id="{1A10E0A3-0B9D-4B95-9EC7-4A6D79F7DE6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V="1">
                  <a:off x="2972182" y="3256904"/>
                  <a:ext cx="181404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tx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2716D2F8-A16E-4F82-8347-D55FCD31F77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V="1">
                  <a:off x="2977850" y="3428935"/>
                  <a:ext cx="183295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tx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2B7C92DD-88DA-41EB-977D-876D75CF3D8D}"/>
                    </a:ext>
                  </a:extLst>
                </p:cNvPr>
                <p:cNvCxnSpPr/>
                <p:nvPr/>
              </p:nvCxnSpPr>
              <p:spPr bwMode="auto">
                <a:xfrm flipV="1">
                  <a:off x="3068552" y="3434605"/>
                  <a:ext cx="0" cy="2007644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tx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347" name="Straight Arrow Connector 110">
                  <a:extLst>
                    <a:ext uri="{FF2B5EF4-FFF2-40B4-BE49-F238E27FC236}">
                      <a16:creationId xmlns:a16="http://schemas.microsoft.com/office/drawing/2014/main" id="{D7006203-581D-4B1B-9CB4-54168CC0D15B}"/>
                    </a:ext>
                  </a:extLst>
                </p:cNvPr>
                <p:cNvCxnSpPr>
                  <a:cxnSpLocks noChangeShapeType="1"/>
                </p:cNvCxnSpPr>
                <p:nvPr/>
              </p:nvCxnSpPr>
              <p:spPr bwMode="auto">
                <a:xfrm flipV="1">
                  <a:off x="921741" y="2102745"/>
                  <a:ext cx="0" cy="3339990"/>
                </a:xfrm>
                <a:prstGeom prst="straightConnector1">
                  <a:avLst/>
                </a:prstGeom>
                <a:noFill/>
                <a:ln w="19050" algn="ctr">
                  <a:solidFill>
                    <a:schemeClr val="bg2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3811EC21-5E90-426A-962D-80E050DCF5DD}"/>
                    </a:ext>
                  </a:extLst>
                </p:cNvPr>
                <p:cNvSpPr txBox="1"/>
                <p:nvPr/>
              </p:nvSpPr>
              <p:spPr>
                <a:xfrm>
                  <a:off x="2335377" y="5037696"/>
                  <a:ext cx="710500" cy="357293"/>
                </a:xfrm>
                <a:prstGeom prst="rect">
                  <a:avLst/>
                </a:prstGeom>
                <a:noFill/>
              </p:spPr>
              <p:txBody>
                <a:bodyPr wrap="none"/>
                <a:lstStyle/>
                <a:p>
                  <a:pPr defTabSz="913073">
                    <a:defRPr/>
                  </a:pPr>
                  <a:r>
                    <a:rPr lang="en-US" sz="1350" b="1" dirty="0">
                      <a:solidFill>
                        <a:srgbClr val="000000"/>
                      </a:solidFill>
                      <a:latin typeface="Imago"/>
                    </a:rPr>
                    <a:t>RCTs</a:t>
                  </a:r>
                </a:p>
              </p:txBody>
            </p:sp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97D95052-8C98-4485-B21C-9151CA0D1EB5}"/>
                    </a:ext>
                  </a:extLst>
                </p:cNvPr>
                <p:cNvSpPr txBox="1"/>
                <p:nvPr/>
              </p:nvSpPr>
              <p:spPr>
                <a:xfrm>
                  <a:off x="3064773" y="4655827"/>
                  <a:ext cx="1987889" cy="493405"/>
                </a:xfrm>
                <a:prstGeom prst="rect">
                  <a:avLst/>
                </a:prstGeom>
                <a:noFill/>
              </p:spPr>
              <p:txBody>
                <a:bodyPr/>
                <a:lstStyle/>
                <a:p>
                  <a:pPr defTabSz="913073">
                    <a:defRPr/>
                  </a:pPr>
                  <a:r>
                    <a:rPr lang="en-US" sz="1050" b="1" dirty="0">
                      <a:solidFill>
                        <a:srgbClr val="FFFFFF"/>
                      </a:solidFill>
                      <a:latin typeface="Imago"/>
                    </a:rPr>
                    <a:t>Observational </a:t>
                  </a:r>
                  <a:br>
                    <a:rPr lang="en-US" sz="1050" b="1" dirty="0">
                      <a:solidFill>
                        <a:srgbClr val="FFFFFF"/>
                      </a:solidFill>
                      <a:latin typeface="Imago"/>
                    </a:rPr>
                  </a:br>
                  <a:r>
                    <a:rPr lang="en-US" sz="1050" b="1" dirty="0">
                      <a:solidFill>
                        <a:srgbClr val="FFFFFF"/>
                      </a:solidFill>
                      <a:latin typeface="Imago"/>
                    </a:rPr>
                    <a:t>studies, registries, etc.</a:t>
                  </a:r>
                </a:p>
              </p:txBody>
            </p:sp>
          </p:grp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96236489-C481-4DF7-8BBB-C535FA680EA7}"/>
                  </a:ext>
                </a:extLst>
              </p:cNvPr>
              <p:cNvSpPr/>
              <p:nvPr/>
            </p:nvSpPr>
            <p:spPr>
              <a:xfrm>
                <a:off x="4261693" y="3911219"/>
                <a:ext cx="2624326" cy="675419"/>
              </a:xfrm>
              <a:prstGeom prst="rect">
                <a:avLst/>
              </a:prstGeom>
            </p:spPr>
            <p:txBody>
              <a:bodyPr/>
              <a:lstStyle/>
              <a:p>
                <a:pPr defTabSz="91307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de-CH" sz="1350" b="1" dirty="0">
                    <a:solidFill>
                      <a:srgbClr val="000000"/>
                    </a:solidFill>
                    <a:latin typeface="Imago"/>
                  </a:rPr>
                  <a:t>Patients treated, no active surveillance</a:t>
                </a:r>
              </a:p>
            </p:txBody>
          </p:sp>
        </p:grpSp>
      </p:grpSp>
      <p:sp>
        <p:nvSpPr>
          <p:cNvPr id="48" name="Right Bracket 47">
            <a:extLst>
              <a:ext uri="{FF2B5EF4-FFF2-40B4-BE49-F238E27FC236}">
                <a16:creationId xmlns:a16="http://schemas.microsoft.com/office/drawing/2014/main" id="{B6A2D386-C39B-498D-9074-D324BEE2CEBE}"/>
              </a:ext>
            </a:extLst>
          </p:cNvPr>
          <p:cNvSpPr/>
          <p:nvPr/>
        </p:nvSpPr>
        <p:spPr bwMode="auto">
          <a:xfrm rot="10800000" flipH="1" flipV="1">
            <a:off x="7597775" y="2952750"/>
            <a:ext cx="77788" cy="2133600"/>
          </a:xfrm>
          <a:prstGeom prst="rightBracke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80" tIns="34290" rIns="68580" bIns="34290"/>
          <a:lstStyle>
            <a:defPPr>
              <a:defRPr lang="en-US"/>
            </a:defPPr>
            <a:lvl1pPr marL="0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93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86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79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72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66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59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52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45" algn="l" defTabSz="45719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GB" sz="1350" dirty="0">
              <a:solidFill>
                <a:srgbClr val="FFFFFF"/>
              </a:solidFill>
              <a:latin typeface="Imago"/>
            </a:endParaRPr>
          </a:p>
        </p:txBody>
      </p:sp>
      <p:sp>
        <p:nvSpPr>
          <p:cNvPr id="83" name="Content Placeholder 2">
            <a:extLst>
              <a:ext uri="{FF2B5EF4-FFF2-40B4-BE49-F238E27FC236}">
                <a16:creationId xmlns:a16="http://schemas.microsoft.com/office/drawing/2014/main" id="{4B2FABB5-BAF8-4AF6-B474-40DF9A4041F2}"/>
              </a:ext>
            </a:extLst>
          </p:cNvPr>
          <p:cNvSpPr txBox="1">
            <a:spLocks/>
          </p:cNvSpPr>
          <p:nvPr/>
        </p:nvSpPr>
        <p:spPr>
          <a:xfrm>
            <a:off x="7751764" y="2871789"/>
            <a:ext cx="2124075" cy="454025"/>
          </a:xfrm>
          <a:prstGeom prst="rect">
            <a:avLst/>
          </a:prstGeom>
          <a:ln>
            <a:noFill/>
          </a:ln>
        </p:spPr>
        <p:txBody>
          <a:bodyPr/>
          <a:lstStyle>
            <a:lvl1pPr marL="236935" indent="-236935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tabLst/>
              <a:defRPr sz="18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34591" indent="-298847" algn="l" rtl="0" eaLnBrk="1" fontAlgn="base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chemeClr val="bg1"/>
              </a:buClr>
              <a:buFont typeface="System Font Regular"/>
              <a:buChar char="—"/>
              <a:tabLst/>
              <a:defRPr sz="1500">
                <a:solidFill>
                  <a:schemeClr val="bg2"/>
                </a:solidFill>
                <a:latin typeface="+mn-lt"/>
              </a:defRPr>
            </a:lvl2pPr>
            <a:lvl3pPr marL="807244" indent="-272654" algn="l" rtl="0" eaLnBrk="1" fontAlgn="base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chemeClr val="bg1"/>
              </a:buClr>
              <a:buFont typeface="System Font Regular"/>
              <a:buChar char="—"/>
              <a:tabLst/>
              <a:defRPr sz="1350">
                <a:solidFill>
                  <a:schemeClr val="bg2"/>
                </a:solidFill>
                <a:latin typeface="+mn-lt"/>
              </a:defRPr>
            </a:lvl3pPr>
            <a:lvl4pPr marL="1070372" indent="-263129" algn="l" rtl="0" eaLnBrk="1" fontAlgn="base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chemeClr val="bg1"/>
              </a:buClr>
              <a:buFont typeface="System Font Regular"/>
              <a:buChar char="—"/>
              <a:tabLst/>
              <a:defRPr sz="1350">
                <a:solidFill>
                  <a:schemeClr val="bg2"/>
                </a:solidFill>
                <a:latin typeface="+mn-lt"/>
              </a:defRPr>
            </a:lvl4pPr>
            <a:lvl5pPr marL="1300163" indent="-229791" algn="l" rtl="0" eaLnBrk="1" fontAlgn="base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Clr>
                <a:schemeClr val="bg1"/>
              </a:buClr>
              <a:buFont typeface="System Font Regular"/>
              <a:buChar char="—"/>
              <a:tabLst/>
              <a:defRPr sz="1350">
                <a:solidFill>
                  <a:schemeClr val="bg2"/>
                </a:solidFill>
                <a:latin typeface="+mn-lt"/>
              </a:defRPr>
            </a:lvl5pPr>
            <a:lvl6pPr marL="1989535" indent="-214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6pPr>
            <a:lvl7pPr marL="2332435" indent="-214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7pPr>
            <a:lvl8pPr marL="2675335" indent="-214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8pPr>
            <a:lvl9pPr marL="3018235" indent="-2143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378">
              <a:spcBef>
                <a:spcPts val="1200"/>
              </a:spcBef>
              <a:buClr>
                <a:srgbClr val="0066CC"/>
              </a:buClr>
              <a:buNone/>
              <a:defRPr/>
            </a:pPr>
            <a:r>
              <a:rPr lang="en-GB" sz="2400" b="1" i="1" kern="0" dirty="0">
                <a:solidFill>
                  <a:srgbClr val="0066CC"/>
                </a:solidFill>
                <a:latin typeface="Minion" panose="02040503050201020203" pitchFamily="18" charset="0"/>
              </a:rPr>
              <a:t>Realm of RWD</a:t>
            </a:r>
            <a:endParaRPr lang="en-GB" sz="2100" kern="0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E7A0DC6-5654-4717-BD5D-A532E99BB57F}"/>
              </a:ext>
            </a:extLst>
          </p:cNvPr>
          <p:cNvSpPr/>
          <p:nvPr/>
        </p:nvSpPr>
        <p:spPr>
          <a:xfrm>
            <a:off x="7751763" y="3325813"/>
            <a:ext cx="2178050" cy="1795462"/>
          </a:xfrm>
          <a:prstGeom prst="rect">
            <a:avLst/>
          </a:prstGeom>
        </p:spPr>
        <p:txBody>
          <a:bodyPr/>
          <a:lstStyle/>
          <a:p>
            <a:pPr defTabSz="914378" fontAlgn="base">
              <a:spcBef>
                <a:spcPts val="1200"/>
              </a:spcBef>
              <a:spcAft>
                <a:spcPct val="0"/>
              </a:spcAft>
              <a:defRPr/>
            </a:pPr>
            <a:r>
              <a:rPr lang="en-GB" sz="1500" i="1" kern="0" dirty="0">
                <a:solidFill>
                  <a:srgbClr val="0066CC"/>
                </a:solidFill>
                <a:latin typeface="Minion" panose="02040503050201020203" pitchFamily="18" charset="0"/>
                <a:ea typeface="MS PGothic" pitchFamily="34" charset="-128"/>
              </a:rPr>
              <a:t>Many clinical, access and policy questions are best addressed using RWD</a:t>
            </a:r>
            <a:r>
              <a:rPr lang="en-GB" sz="1500" i="1" kern="0" baseline="30000" dirty="0">
                <a:solidFill>
                  <a:srgbClr val="0066CC"/>
                </a:solidFill>
                <a:latin typeface="Minion" panose="02040503050201020203" pitchFamily="18" charset="0"/>
                <a:ea typeface="MS PGothic" pitchFamily="34" charset="-128"/>
              </a:rPr>
              <a:t>1</a:t>
            </a:r>
          </a:p>
          <a:p>
            <a:pPr defTabSz="914378" fontAlgn="base">
              <a:spcBef>
                <a:spcPts val="1200"/>
              </a:spcBef>
              <a:spcAft>
                <a:spcPct val="0"/>
              </a:spcAft>
              <a:defRPr/>
            </a:pPr>
            <a:r>
              <a:rPr lang="en-GB" sz="1500" i="1" kern="0" dirty="0">
                <a:solidFill>
                  <a:srgbClr val="0066CC"/>
                </a:solidFill>
                <a:latin typeface="Minion" panose="02040503050201020203" pitchFamily="18" charset="0"/>
                <a:ea typeface="MS PGothic" pitchFamily="34" charset="-128"/>
              </a:rPr>
              <a:t>Outcomes collected from RWD are inherently</a:t>
            </a:r>
            <a:br>
              <a:rPr lang="en-GB" sz="1500" i="1" kern="0" dirty="0">
                <a:solidFill>
                  <a:srgbClr val="0066CC"/>
                </a:solidFill>
                <a:latin typeface="Minion" panose="02040503050201020203" pitchFamily="18" charset="0"/>
                <a:ea typeface="MS PGothic" pitchFamily="34" charset="-128"/>
              </a:rPr>
            </a:br>
            <a:r>
              <a:rPr lang="en-GB" sz="1500" i="1" kern="0" dirty="0">
                <a:solidFill>
                  <a:srgbClr val="0066CC"/>
                </a:solidFill>
                <a:latin typeface="Minion" panose="02040503050201020203" pitchFamily="18" charset="0"/>
                <a:ea typeface="MS PGothic" pitchFamily="34" charset="-128"/>
              </a:rPr>
              <a:t>different from those </a:t>
            </a:r>
            <a:br>
              <a:rPr lang="en-GB" sz="1500" i="1" kern="0" dirty="0">
                <a:solidFill>
                  <a:srgbClr val="0066CC"/>
                </a:solidFill>
                <a:latin typeface="Minion" panose="02040503050201020203" pitchFamily="18" charset="0"/>
                <a:ea typeface="MS PGothic" pitchFamily="34" charset="-128"/>
              </a:rPr>
            </a:br>
            <a:r>
              <a:rPr lang="en-GB" sz="1500" i="1" kern="0" dirty="0">
                <a:solidFill>
                  <a:srgbClr val="0066CC"/>
                </a:solidFill>
                <a:latin typeface="Minion" panose="02040503050201020203" pitchFamily="18" charset="0"/>
                <a:ea typeface="MS PGothic" pitchFamily="34" charset="-128"/>
              </a:rPr>
              <a:t>collected in clinical trials</a:t>
            </a:r>
            <a:r>
              <a:rPr lang="en-GB" sz="1500" i="1" kern="0" baseline="30000" dirty="0">
                <a:solidFill>
                  <a:srgbClr val="0066CC"/>
                </a:solidFill>
                <a:latin typeface="Minion" panose="02040503050201020203" pitchFamily="18" charset="0"/>
                <a:ea typeface="MS PGothic" pitchFamily="34" charset="-128"/>
              </a:rPr>
              <a:t>3</a:t>
            </a:r>
          </a:p>
        </p:txBody>
      </p:sp>
      <p:sp>
        <p:nvSpPr>
          <p:cNvPr id="56328" name="Content Placeholder 1">
            <a:extLst>
              <a:ext uri="{FF2B5EF4-FFF2-40B4-BE49-F238E27FC236}">
                <a16:creationId xmlns:a16="http://schemas.microsoft.com/office/drawing/2014/main" id="{C78A854F-2B64-4D1D-A391-DBCBD6E52554}"/>
              </a:ext>
            </a:extLst>
          </p:cNvPr>
          <p:cNvSpPr txBox="1">
            <a:spLocks/>
          </p:cNvSpPr>
          <p:nvPr/>
        </p:nvSpPr>
        <p:spPr bwMode="auto">
          <a:xfrm>
            <a:off x="2484438" y="2863850"/>
            <a:ext cx="1371600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7" tIns="45713" rIns="91427" bIns="45713"/>
          <a:lstStyle>
            <a:lvl1pPr defTabSz="912813">
              <a:spcBef>
                <a:spcPts val="600"/>
              </a:spcBef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bg2"/>
                </a:solidFill>
                <a:latin typeface="Imago"/>
              </a:defRPr>
            </a:lvl1pPr>
            <a:lvl2pPr marL="627063" indent="-271463" defTabSz="912813">
              <a:spcBef>
                <a:spcPts val="150"/>
              </a:spcBef>
              <a:buClr>
                <a:schemeClr val="bg1"/>
              </a:buClr>
              <a:buFont typeface="System Font Regular"/>
              <a:buChar char="—"/>
              <a:defRPr sz="1500">
                <a:solidFill>
                  <a:schemeClr val="bg2"/>
                </a:solidFill>
                <a:latin typeface="Imago"/>
              </a:defRPr>
            </a:lvl2pPr>
            <a:lvl3pPr marL="901700" indent="-274638" defTabSz="912813">
              <a:spcBef>
                <a:spcPts val="150"/>
              </a:spcBef>
              <a:buClr>
                <a:schemeClr val="bg1"/>
              </a:buClr>
              <a:buFont typeface="System Font Regular"/>
              <a:buChar char="—"/>
              <a:defRPr sz="1300">
                <a:solidFill>
                  <a:schemeClr val="bg2"/>
                </a:solidFill>
                <a:latin typeface="Imago"/>
              </a:defRPr>
            </a:lvl3pPr>
            <a:lvl4pPr marL="1265238" indent="-282575" defTabSz="912813">
              <a:spcBef>
                <a:spcPts val="150"/>
              </a:spcBef>
              <a:buClr>
                <a:schemeClr val="bg1"/>
              </a:buClr>
              <a:buFont typeface="System Font Regular"/>
              <a:buChar char="—"/>
              <a:defRPr sz="1300">
                <a:solidFill>
                  <a:schemeClr val="bg2"/>
                </a:solidFill>
                <a:latin typeface="Imago"/>
              </a:defRPr>
            </a:lvl4pPr>
            <a:lvl5pPr marL="1616075" indent="-269875" defTabSz="912813">
              <a:spcBef>
                <a:spcPts val="150"/>
              </a:spcBef>
              <a:buClr>
                <a:schemeClr val="bg1"/>
              </a:buClr>
              <a:buFont typeface="System Font Regular"/>
              <a:buChar char="—"/>
              <a:defRPr sz="1300">
                <a:solidFill>
                  <a:schemeClr val="bg2"/>
                </a:solidFill>
                <a:latin typeface="Imago"/>
              </a:defRPr>
            </a:lvl5pPr>
            <a:lvl6pPr marL="2073275" indent="-269875" defTabSz="912813" eaLnBrk="0" fontAlgn="base" hangingPunct="0">
              <a:spcBef>
                <a:spcPts val="150"/>
              </a:spcBef>
              <a:spcAft>
                <a:spcPct val="0"/>
              </a:spcAft>
              <a:buClr>
                <a:schemeClr val="bg1"/>
              </a:buClr>
              <a:buFont typeface="System Font Regular"/>
              <a:buChar char="—"/>
              <a:defRPr sz="1300">
                <a:solidFill>
                  <a:schemeClr val="bg2"/>
                </a:solidFill>
                <a:latin typeface="Imago"/>
              </a:defRPr>
            </a:lvl6pPr>
            <a:lvl7pPr marL="2530475" indent="-269875" defTabSz="912813" eaLnBrk="0" fontAlgn="base" hangingPunct="0">
              <a:spcBef>
                <a:spcPts val="150"/>
              </a:spcBef>
              <a:spcAft>
                <a:spcPct val="0"/>
              </a:spcAft>
              <a:buClr>
                <a:schemeClr val="bg1"/>
              </a:buClr>
              <a:buFont typeface="System Font Regular"/>
              <a:buChar char="—"/>
              <a:defRPr sz="1300">
                <a:solidFill>
                  <a:schemeClr val="bg2"/>
                </a:solidFill>
                <a:latin typeface="Imago"/>
              </a:defRPr>
            </a:lvl7pPr>
            <a:lvl8pPr marL="2987675" indent="-269875" defTabSz="912813" eaLnBrk="0" fontAlgn="base" hangingPunct="0">
              <a:spcBef>
                <a:spcPts val="150"/>
              </a:spcBef>
              <a:spcAft>
                <a:spcPct val="0"/>
              </a:spcAft>
              <a:buClr>
                <a:schemeClr val="bg1"/>
              </a:buClr>
              <a:buFont typeface="System Font Regular"/>
              <a:buChar char="—"/>
              <a:defRPr sz="1300">
                <a:solidFill>
                  <a:schemeClr val="bg2"/>
                </a:solidFill>
                <a:latin typeface="Imago"/>
              </a:defRPr>
            </a:lvl8pPr>
            <a:lvl9pPr marL="3444875" indent="-269875" defTabSz="912813" eaLnBrk="0" fontAlgn="base" hangingPunct="0">
              <a:spcBef>
                <a:spcPts val="150"/>
              </a:spcBef>
              <a:spcAft>
                <a:spcPct val="0"/>
              </a:spcAft>
              <a:buClr>
                <a:schemeClr val="bg1"/>
              </a:buClr>
              <a:buFont typeface="System Font Regular"/>
              <a:buChar char="—"/>
              <a:defRPr sz="1300">
                <a:solidFill>
                  <a:schemeClr val="bg2"/>
                </a:solidFill>
                <a:latin typeface="Imago"/>
              </a:defRPr>
            </a:lvl9pPr>
          </a:lstStyle>
          <a:p>
            <a:pPr fontAlgn="base">
              <a:spcBef>
                <a:spcPts val="1200"/>
              </a:spcBef>
              <a:spcAft>
                <a:spcPct val="0"/>
              </a:spcAft>
              <a:buClr>
                <a:srgbClr val="000000"/>
              </a:buClr>
              <a:buSzTx/>
              <a:buNone/>
            </a:pPr>
            <a:r>
              <a:rPr lang="en-GB" altLang="cs-CZ" sz="1200">
                <a:solidFill>
                  <a:srgbClr val="000000"/>
                </a:solidFill>
                <a:latin typeface="Imago-Book"/>
              </a:rPr>
              <a:t>RCTs remain the gold standard for establishing the efficacy of new treatments for patients with cancer</a:t>
            </a:r>
            <a:r>
              <a:rPr lang="en-GB" altLang="cs-CZ" sz="1200" baseline="30000">
                <a:solidFill>
                  <a:srgbClr val="000000"/>
                </a:solidFill>
                <a:latin typeface="Imago-Book"/>
              </a:rPr>
              <a:t>1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C07FD71-F89C-404E-AA27-CA8352EB9456}"/>
              </a:ext>
            </a:extLst>
          </p:cNvPr>
          <p:cNvSpPr txBox="1"/>
          <p:nvPr/>
        </p:nvSpPr>
        <p:spPr>
          <a:xfrm>
            <a:off x="7399338" y="5999164"/>
            <a:ext cx="283051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1200" kern="0" dirty="0">
                <a:solidFill>
                  <a:srgbClr val="0066CC"/>
                </a:solidFill>
                <a:latin typeface="Imago"/>
              </a:rPr>
              <a:t>ESMO 2019 </a:t>
            </a:r>
            <a:r>
              <a:rPr lang="cs-CZ" sz="1200" kern="0" dirty="0" err="1">
                <a:solidFill>
                  <a:srgbClr val="0066CC"/>
                </a:solidFill>
                <a:latin typeface="Imago"/>
              </a:rPr>
              <a:t>Roche</a:t>
            </a:r>
            <a:r>
              <a:rPr lang="de-CH" sz="1200" kern="0" dirty="0">
                <a:solidFill>
                  <a:srgbClr val="0066CC"/>
                </a:solidFill>
                <a:latin typeface="Imago"/>
              </a:rPr>
              <a:t> </a:t>
            </a:r>
            <a:r>
              <a:rPr lang="de-CH" sz="1200" kern="0" dirty="0" err="1">
                <a:solidFill>
                  <a:srgbClr val="0066CC"/>
                </a:solidFill>
                <a:latin typeface="Imago"/>
              </a:rPr>
              <a:t>Satellite</a:t>
            </a:r>
            <a:r>
              <a:rPr lang="de-CH" sz="1200" kern="0" dirty="0">
                <a:solidFill>
                  <a:srgbClr val="0066CC"/>
                </a:solidFill>
                <a:latin typeface="Imago"/>
              </a:rPr>
              <a:t> Symposium</a:t>
            </a:r>
            <a:endParaRPr lang="en-CH" sz="1200" kern="0" dirty="0">
              <a:solidFill>
                <a:srgbClr val="0066CC"/>
              </a:solidFill>
              <a:latin typeface="Imago"/>
            </a:endParaRPr>
          </a:p>
        </p:txBody>
      </p: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D8777716-11F3-4C39-81FB-CF18BE2A5328}"/>
              </a:ext>
            </a:extLst>
          </p:cNvPr>
          <p:cNvCxnSpPr>
            <a:cxnSpLocks/>
          </p:cNvCxnSpPr>
          <p:nvPr/>
        </p:nvCxnSpPr>
        <p:spPr bwMode="auto">
          <a:xfrm flipV="1">
            <a:off x="3211513" y="2166939"/>
            <a:ext cx="0" cy="3254375"/>
          </a:xfrm>
          <a:prstGeom prst="line">
            <a:avLst/>
          </a:prstGeom>
          <a:ln w="15875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8A30F2C4-CDA8-4152-B23E-D5027BD201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22539" y="1768475"/>
            <a:ext cx="20780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cs-CZ" altLang="cs-CZ" sz="1300" b="1">
                <a:solidFill>
                  <a:srgbClr val="FF0000"/>
                </a:solidFill>
              </a:rPr>
              <a:t>Conditional Approval</a:t>
            </a:r>
          </a:p>
        </p:txBody>
      </p:sp>
      <p:sp>
        <p:nvSpPr>
          <p:cNvPr id="16" name="Oblouk 15">
            <a:extLst>
              <a:ext uri="{FF2B5EF4-FFF2-40B4-BE49-F238E27FC236}">
                <a16:creationId xmlns:a16="http://schemas.microsoft.com/office/drawing/2014/main" id="{87C7D534-6684-4CE0-86EA-6CB3BCBA6AC9}"/>
              </a:ext>
            </a:extLst>
          </p:cNvPr>
          <p:cNvSpPr/>
          <p:nvPr/>
        </p:nvSpPr>
        <p:spPr bwMode="auto">
          <a:xfrm rot="16200000">
            <a:off x="2459460" y="3711709"/>
            <a:ext cx="5198769" cy="3680850"/>
          </a:xfrm>
          <a:prstGeom prst="arc">
            <a:avLst>
              <a:gd name="adj1" fmla="val 16724764"/>
              <a:gd name="adj2" fmla="val 0"/>
            </a:avLst>
          </a:prstGeom>
          <a:noFill/>
          <a:ln w="158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cs-CZ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4000" dirty="0"/>
              <a:t>Platforma GENESIS</a:t>
            </a:r>
            <a:br>
              <a:rPr lang="cs-CZ" sz="3200" dirty="0"/>
            </a:br>
            <a:r>
              <a:rPr lang="cs-CZ" sz="3200" dirty="0" err="1"/>
              <a:t>GEnomic</a:t>
            </a:r>
            <a:r>
              <a:rPr lang="cs-CZ" sz="3200" dirty="0"/>
              <a:t> </a:t>
            </a:r>
            <a:r>
              <a:rPr lang="cs-CZ" sz="3200" dirty="0" err="1"/>
              <a:t>alteration</a:t>
            </a:r>
            <a:r>
              <a:rPr lang="cs-CZ" sz="3200" dirty="0"/>
              <a:t> </a:t>
            </a:r>
            <a:r>
              <a:rPr lang="cs-CZ" sz="3200" dirty="0" err="1"/>
              <a:t>platform</a:t>
            </a:r>
            <a:r>
              <a:rPr lang="cs-CZ" sz="3200" dirty="0"/>
              <a:t> </a:t>
            </a:r>
            <a:r>
              <a:rPr lang="cs-CZ" sz="3200" dirty="0" err="1"/>
              <a:t>for</a:t>
            </a:r>
            <a:r>
              <a:rPr lang="cs-CZ" sz="3200" dirty="0"/>
              <a:t> </a:t>
            </a:r>
            <a:r>
              <a:rPr lang="cs-CZ" sz="3200" dirty="0" err="1"/>
              <a:t>NExt</a:t>
            </a:r>
            <a:r>
              <a:rPr lang="cs-CZ" sz="3200" dirty="0"/>
              <a:t> </a:t>
            </a:r>
            <a:r>
              <a:rPr lang="cs-CZ" sz="3200" dirty="0" err="1"/>
              <a:t>clinical</a:t>
            </a:r>
            <a:r>
              <a:rPr lang="cs-CZ" sz="3200" dirty="0"/>
              <a:t> </a:t>
            </a:r>
            <a:r>
              <a:rPr lang="cs-CZ" sz="3200" dirty="0" err="1"/>
              <a:t>StudieS</a:t>
            </a:r>
            <a:endParaRPr lang="en-GB" sz="3200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 bwMode="auto">
          <a:xfrm>
            <a:off x="570854" y="1841165"/>
            <a:ext cx="11050292" cy="324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7013" indent="-227013" algn="l" defTabSz="830263" rtl="0" eaLnBrk="0" fontAlgn="base" hangingPunct="0">
              <a:spcBef>
                <a:spcPts val="1000"/>
              </a:spcBef>
              <a:spcAft>
                <a:spcPts val="500"/>
              </a:spcAft>
              <a:buClr>
                <a:schemeClr val="accent1"/>
              </a:buClr>
              <a:buChar char="•"/>
              <a:defRPr lang="en-US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3363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–"/>
              <a:defRPr lang="en-US" sz="1600" smtClean="0">
                <a:solidFill>
                  <a:schemeClr val="tx1"/>
                </a:solidFill>
                <a:latin typeface="+mn-lt"/>
              </a:defRPr>
            </a:lvl2pPr>
            <a:lvl3pPr marL="914400" indent="-225425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•"/>
              <a:defRPr lang="en-US" sz="1600" smtClean="0">
                <a:solidFill>
                  <a:schemeClr val="tx1"/>
                </a:solidFill>
                <a:latin typeface="+mn-lt"/>
              </a:defRPr>
            </a:lvl3pPr>
            <a:lvl4pPr marL="1254125" indent="-225425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–"/>
              <a:defRPr lang="en-US" sz="1600" smtClean="0">
                <a:solidFill>
                  <a:schemeClr val="tx1"/>
                </a:solidFill>
                <a:latin typeface="+mn-lt"/>
              </a:defRPr>
            </a:lvl4pPr>
            <a:lvl5pPr marL="1601788" indent="-233363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»"/>
              <a:defRPr lang="en-US" sz="1600" smtClean="0">
                <a:solidFill>
                  <a:schemeClr val="tx1"/>
                </a:solidFill>
                <a:latin typeface="+mn-lt"/>
              </a:defRPr>
            </a:lvl5pPr>
            <a:lvl6pPr marL="20589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5161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9733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4305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50000"/>
              </a:lnSpc>
            </a:pPr>
            <a:r>
              <a:rPr lang="cs-CZ" sz="1800" b="1" dirty="0"/>
              <a:t>WP1</a:t>
            </a:r>
            <a:r>
              <a:rPr lang="cs-CZ" sz="1800" dirty="0"/>
              <a:t>: molekulárně-genetické profilování, panely genů v jednotlivých KOC, zdrojová/</a:t>
            </a:r>
            <a:r>
              <a:rPr lang="cs-CZ" sz="1800" dirty="0" err="1"/>
              <a:t>raw</a:t>
            </a:r>
            <a:r>
              <a:rPr lang="cs-CZ" sz="1800" dirty="0"/>
              <a:t> data, standardizace výstupů (PI: prof. Slabý, prof. </a:t>
            </a:r>
            <a:r>
              <a:rPr lang="cs-CZ" sz="1800" dirty="0" err="1"/>
              <a:t>Dundr</a:t>
            </a:r>
            <a:r>
              <a:rPr lang="cs-CZ" sz="1800" dirty="0"/>
              <a:t>)</a:t>
            </a:r>
          </a:p>
          <a:p>
            <a:pPr>
              <a:lnSpc>
                <a:spcPct val="150000"/>
              </a:lnSpc>
            </a:pPr>
            <a:r>
              <a:rPr lang="cs-CZ" sz="1800" b="1" dirty="0"/>
              <a:t>WP2</a:t>
            </a:r>
            <a:r>
              <a:rPr lang="cs-CZ" sz="1800" dirty="0"/>
              <a:t>: klinická data, </a:t>
            </a:r>
            <a:r>
              <a:rPr lang="cs-CZ" sz="1800" dirty="0" err="1"/>
              <a:t>genomic-driven</a:t>
            </a:r>
            <a:r>
              <a:rPr lang="cs-CZ" sz="1800" dirty="0"/>
              <a:t> doporučení a jejich standardizace, reporting, sdílení výstupů (learning </a:t>
            </a:r>
            <a:r>
              <a:rPr lang="cs-CZ" sz="1800" dirty="0" err="1"/>
              <a:t>curve</a:t>
            </a:r>
            <a:r>
              <a:rPr lang="cs-CZ" sz="1800" dirty="0"/>
              <a:t>) (PI: dr. </a:t>
            </a:r>
            <a:r>
              <a:rPr lang="cs-CZ" sz="1800" dirty="0" err="1"/>
              <a:t>Grell</a:t>
            </a:r>
            <a:r>
              <a:rPr lang="cs-CZ" sz="1800" dirty="0"/>
              <a:t>, prof. Svoboda)</a:t>
            </a:r>
          </a:p>
          <a:p>
            <a:pPr>
              <a:lnSpc>
                <a:spcPct val="150000"/>
              </a:lnSpc>
            </a:pPr>
            <a:r>
              <a:rPr lang="cs-CZ" sz="1800" b="1" dirty="0"/>
              <a:t>WP3</a:t>
            </a:r>
            <a:r>
              <a:rPr lang="cs-CZ" sz="1800" dirty="0"/>
              <a:t>: e-platforma pro sběr dat, analýzy dat (PI: dr. Svobodník)</a:t>
            </a:r>
          </a:p>
          <a:p>
            <a:pPr>
              <a:lnSpc>
                <a:spcPct val="150000"/>
              </a:lnSpc>
            </a:pPr>
            <a:r>
              <a:rPr lang="cs-CZ" sz="1800" b="1" dirty="0"/>
              <a:t>WP4</a:t>
            </a:r>
            <a:r>
              <a:rPr lang="cs-CZ" sz="1800" dirty="0"/>
              <a:t>: etické a právní otázky personalizovaného sběru dat (PI: dr. Koščík, </a:t>
            </a:r>
            <a:r>
              <a:rPr lang="cs-CZ" sz="1800" dirty="0" err="1"/>
              <a:t>mgr.</a:t>
            </a:r>
            <a:r>
              <a:rPr lang="cs-CZ" sz="1800" dirty="0"/>
              <a:t> Halouzka)</a:t>
            </a:r>
          </a:p>
          <a:p>
            <a:pPr>
              <a:lnSpc>
                <a:spcPct val="150000"/>
              </a:lnSpc>
            </a:pPr>
            <a:r>
              <a:rPr lang="cs-CZ" sz="1800" b="1" dirty="0"/>
              <a:t>WP5: </a:t>
            </a:r>
            <a:r>
              <a:rPr lang="cs-CZ" sz="1800" dirty="0" err="1"/>
              <a:t>outcome-based</a:t>
            </a:r>
            <a:r>
              <a:rPr lang="cs-CZ" sz="1800" dirty="0"/>
              <a:t> farmakoekonomické analýzy (PI: doc. Demlová, dr. Říhová)</a:t>
            </a:r>
          </a:p>
          <a:p>
            <a:pPr>
              <a:lnSpc>
                <a:spcPct val="150000"/>
              </a:lnSpc>
            </a:pPr>
            <a:r>
              <a:rPr lang="cs-CZ" sz="1800" b="1" dirty="0"/>
              <a:t>WP6</a:t>
            </a:r>
            <a:r>
              <a:rPr lang="cs-CZ" sz="1800" dirty="0"/>
              <a:t>: diseminace výstupů, spolupráce s klíčovými </a:t>
            </a:r>
            <a:r>
              <a:rPr lang="cs-CZ" sz="1800" dirty="0" err="1"/>
              <a:t>stakeholders</a:t>
            </a:r>
            <a:r>
              <a:rPr lang="cs-CZ" sz="1800" dirty="0"/>
              <a:t> (</a:t>
            </a:r>
            <a:r>
              <a:rPr lang="cs-CZ" sz="1800" dirty="0" err="1"/>
              <a:t>all</a:t>
            </a:r>
            <a:r>
              <a:rPr lang="cs-CZ" sz="1800" dirty="0"/>
              <a:t>)</a:t>
            </a: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1312" marR="0" lvl="1" indent="0" algn="l" defTabSz="830263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ooter Placeholder 2"/>
          <p:cNvSpPr txBox="1">
            <a:spLocks/>
          </p:cNvSpPr>
          <p:nvPr/>
        </p:nvSpPr>
        <p:spPr>
          <a:xfrm>
            <a:off x="0" y="6471832"/>
            <a:ext cx="2555631" cy="2119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  <a:hlinkClick r:id="rId7"/>
              </a:rPr>
              <a:t>w.htai.org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 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  <p:sp>
        <p:nvSpPr>
          <p:cNvPr id="7" name="Ovál 6">
            <a:extLst>
              <a:ext uri="{FF2B5EF4-FFF2-40B4-BE49-F238E27FC236}">
                <a16:creationId xmlns:a16="http://schemas.microsoft.com/office/drawing/2014/main" id="{29E25544-75BF-4BA2-B596-E796728B023B}"/>
              </a:ext>
            </a:extLst>
          </p:cNvPr>
          <p:cNvSpPr/>
          <p:nvPr/>
        </p:nvSpPr>
        <p:spPr>
          <a:xfrm>
            <a:off x="121055" y="4999835"/>
            <a:ext cx="10174778" cy="73152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221387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GB" sz="3200" dirty="0"/>
              <a:t>„</a:t>
            </a:r>
            <a:r>
              <a:rPr lang="en-GB" sz="3200" dirty="0" err="1"/>
              <a:t>Řízený</a:t>
            </a:r>
            <a:r>
              <a:rPr lang="en-GB" sz="3200" dirty="0"/>
              <a:t> </a:t>
            </a:r>
            <a:r>
              <a:rPr lang="en-GB" sz="3200" dirty="0" err="1"/>
              <a:t>vstup</a:t>
            </a:r>
            <a:r>
              <a:rPr lang="en-GB" sz="3200" dirty="0"/>
              <a:t> </a:t>
            </a:r>
            <a:r>
              <a:rPr lang="en-GB" sz="3200" dirty="0" err="1"/>
              <a:t>léčivých</a:t>
            </a:r>
            <a:r>
              <a:rPr lang="en-GB" sz="3200" dirty="0"/>
              <a:t> </a:t>
            </a:r>
            <a:r>
              <a:rPr lang="en-GB" sz="3200" dirty="0" err="1"/>
              <a:t>příprav</a:t>
            </a:r>
            <a:r>
              <a:rPr lang="cs-CZ" sz="3200" dirty="0"/>
              <a:t> - </a:t>
            </a:r>
            <a:r>
              <a:rPr lang="cs-CZ" sz="3200" dirty="0" err="1"/>
              <a:t>MEAs</a:t>
            </a:r>
            <a:r>
              <a:rPr lang="en-GB" sz="3200" dirty="0"/>
              <a:t> </a:t>
            </a:r>
            <a:r>
              <a:rPr lang="cs-CZ" sz="3200" dirty="0"/>
              <a:t>                                                                   </a:t>
            </a:r>
            <a:r>
              <a:rPr lang="en-GB" sz="3200" dirty="0"/>
              <a:t>(„Managed Entry Scheme</a:t>
            </a:r>
            <a:r>
              <a:rPr lang="cs-CZ" sz="3200" dirty="0"/>
              <a:t>/</a:t>
            </a:r>
            <a:r>
              <a:rPr lang="cs-CZ" sz="3200" dirty="0" err="1"/>
              <a:t>Agreements</a:t>
            </a:r>
            <a:r>
              <a:rPr lang="en-GB" sz="3200" dirty="0"/>
              <a:t>“</a:t>
            </a:r>
            <a:r>
              <a:rPr lang="cs-CZ" sz="3200" dirty="0"/>
              <a:t>)</a:t>
            </a:r>
            <a:endParaRPr lang="en-GB" sz="3200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 bwMode="auto">
          <a:xfrm>
            <a:off x="565688" y="1990323"/>
            <a:ext cx="11050292" cy="324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7013" indent="-227013" algn="l" defTabSz="830263" rtl="0" eaLnBrk="0" fontAlgn="base" hangingPunct="0">
              <a:spcBef>
                <a:spcPts val="1000"/>
              </a:spcBef>
              <a:spcAft>
                <a:spcPts val="500"/>
              </a:spcAft>
              <a:buClr>
                <a:schemeClr val="accent1"/>
              </a:buClr>
              <a:buChar char="•"/>
              <a:defRPr lang="en-US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3363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–"/>
              <a:defRPr lang="en-US" sz="1600" smtClean="0">
                <a:solidFill>
                  <a:schemeClr val="tx1"/>
                </a:solidFill>
                <a:latin typeface="+mn-lt"/>
              </a:defRPr>
            </a:lvl2pPr>
            <a:lvl3pPr marL="914400" indent="-225425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•"/>
              <a:defRPr lang="en-US" sz="1600" smtClean="0">
                <a:solidFill>
                  <a:schemeClr val="tx1"/>
                </a:solidFill>
                <a:latin typeface="+mn-lt"/>
              </a:defRPr>
            </a:lvl3pPr>
            <a:lvl4pPr marL="1254125" indent="-225425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–"/>
              <a:defRPr lang="en-US" sz="1600" smtClean="0">
                <a:solidFill>
                  <a:schemeClr val="tx1"/>
                </a:solidFill>
                <a:latin typeface="+mn-lt"/>
              </a:defRPr>
            </a:lvl4pPr>
            <a:lvl5pPr marL="1601788" indent="-233363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»"/>
              <a:defRPr lang="en-US" sz="1600" smtClean="0">
                <a:solidFill>
                  <a:schemeClr val="tx1"/>
                </a:solidFill>
                <a:latin typeface="+mn-lt"/>
              </a:defRPr>
            </a:lvl5pPr>
            <a:lvl6pPr marL="20589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5161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9733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4305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„Ř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íze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ý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tup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h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hod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zi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ýrobcem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átcem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kytovatelem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možňující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řístup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úhradu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dravotní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ologi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za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fických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dmínek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“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snadňují přístup pacientů k daným terapiím v situacích, kdy by konvenční rozhodnutí o úhradě přístup neumožňovalo</a:t>
            </a: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 uzavírají ve více než 60% zemí EU (zdroj OECD)</a:t>
            </a: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 uzavírají především pro léčiva (méně u ZP), a to zejména v onkologii, kardiologii a u vzácných onemocnění</a:t>
            </a: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sou uzavírány ve většině zemí na 1 – 5 let, v některých zemích časově neomezené</a:t>
            </a: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blematická </a:t>
            </a:r>
            <a:r>
              <a:rPr lang="cs-CZ" sz="1800" dirty="0">
                <a:solidFill>
                  <a:srgbClr val="000000"/>
                </a:solidFill>
                <a:latin typeface="Calibri"/>
              </a:rPr>
              <a:t>může bý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parentnost procesů, což má negativní vliv na regulaci cen/úhrad, systém externího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ferencování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ůže poskytovat neobjektivní výsledky</a:t>
            </a: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1312" marR="0" lvl="1" indent="0" algn="l" defTabSz="830263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ooter Placeholder 2"/>
          <p:cNvSpPr txBox="1">
            <a:spLocks/>
          </p:cNvSpPr>
          <p:nvPr/>
        </p:nvSpPr>
        <p:spPr>
          <a:xfrm>
            <a:off x="0" y="6471832"/>
            <a:ext cx="2555631" cy="2119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  <a:hlinkClick r:id="rId7"/>
              </a:rPr>
              <a:t>w.htai.org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 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</p:spTree>
    <p:extLst>
      <p:ext uri="{BB962C8B-B14F-4D97-AF65-F5344CB8AC3E}">
        <p14:creationId xmlns:p14="http://schemas.microsoft.com/office/powerpoint/2010/main" val="2500259945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GB" sz="3200" dirty="0"/>
              <a:t>„</a:t>
            </a:r>
            <a:r>
              <a:rPr lang="en-GB" sz="3200" dirty="0" err="1"/>
              <a:t>Řízený</a:t>
            </a:r>
            <a:r>
              <a:rPr lang="en-GB" sz="3200" dirty="0"/>
              <a:t> </a:t>
            </a:r>
            <a:r>
              <a:rPr lang="en-GB" sz="3200" dirty="0" err="1"/>
              <a:t>vstup</a:t>
            </a:r>
            <a:r>
              <a:rPr lang="en-GB" sz="3200" dirty="0"/>
              <a:t> </a:t>
            </a:r>
            <a:r>
              <a:rPr lang="en-GB" sz="3200" dirty="0" err="1"/>
              <a:t>léčivých</a:t>
            </a:r>
            <a:r>
              <a:rPr lang="en-GB" sz="3200" dirty="0"/>
              <a:t> </a:t>
            </a:r>
            <a:r>
              <a:rPr lang="en-GB" sz="3200" dirty="0" err="1"/>
              <a:t>příprav</a:t>
            </a:r>
            <a:r>
              <a:rPr lang="cs-CZ" sz="3200" dirty="0"/>
              <a:t> - </a:t>
            </a:r>
            <a:r>
              <a:rPr lang="cs-CZ" sz="3200" dirty="0" err="1"/>
              <a:t>MEAs</a:t>
            </a:r>
            <a:r>
              <a:rPr lang="en-GB" sz="3200" dirty="0"/>
              <a:t> </a:t>
            </a:r>
            <a:r>
              <a:rPr lang="cs-CZ" sz="3200" dirty="0"/>
              <a:t>                                                                   </a:t>
            </a:r>
            <a:r>
              <a:rPr lang="en-GB" sz="3200" dirty="0"/>
              <a:t>(„Managed Entry Scheme</a:t>
            </a:r>
            <a:r>
              <a:rPr lang="cs-CZ" sz="3200" dirty="0"/>
              <a:t>/</a:t>
            </a:r>
            <a:r>
              <a:rPr lang="cs-CZ" sz="3200" dirty="0" err="1"/>
              <a:t>Agreements</a:t>
            </a:r>
            <a:r>
              <a:rPr lang="en-GB" sz="3200" dirty="0"/>
              <a:t>“</a:t>
            </a:r>
            <a:r>
              <a:rPr lang="cs-CZ" sz="3200" dirty="0"/>
              <a:t>)</a:t>
            </a:r>
            <a:endParaRPr lang="en-GB" sz="3200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 bwMode="auto">
          <a:xfrm>
            <a:off x="677226" y="1974825"/>
            <a:ext cx="10972800" cy="324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7013" indent="-227013" algn="l" defTabSz="830263" rtl="0" eaLnBrk="0" fontAlgn="base" hangingPunct="0">
              <a:spcBef>
                <a:spcPts val="1000"/>
              </a:spcBef>
              <a:spcAft>
                <a:spcPts val="500"/>
              </a:spcAft>
              <a:buClr>
                <a:schemeClr val="accent1"/>
              </a:buClr>
              <a:buChar char="•"/>
              <a:defRPr lang="en-US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3363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–"/>
              <a:defRPr lang="en-US" sz="1600" smtClean="0">
                <a:solidFill>
                  <a:schemeClr val="tx1"/>
                </a:solidFill>
                <a:latin typeface="+mn-lt"/>
              </a:defRPr>
            </a:lvl2pPr>
            <a:lvl3pPr marL="914400" indent="-225425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•"/>
              <a:defRPr lang="en-US" sz="1600" smtClean="0">
                <a:solidFill>
                  <a:schemeClr val="tx1"/>
                </a:solidFill>
                <a:latin typeface="+mn-lt"/>
              </a:defRPr>
            </a:lvl3pPr>
            <a:lvl4pPr marL="1254125" indent="-225425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–"/>
              <a:defRPr lang="en-US" sz="1600" smtClean="0">
                <a:solidFill>
                  <a:schemeClr val="tx1"/>
                </a:solidFill>
                <a:latin typeface="+mn-lt"/>
              </a:defRPr>
            </a:lvl4pPr>
            <a:lvl5pPr marL="1601788" indent="-233363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»"/>
              <a:defRPr lang="en-US" sz="1600" smtClean="0">
                <a:solidFill>
                  <a:schemeClr val="tx1"/>
                </a:solidFill>
                <a:latin typeface="+mn-lt"/>
              </a:defRPr>
            </a:lvl5pPr>
            <a:lvl6pPr marL="20589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5161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9733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4305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 zásadě se dají rozdělit na</a:t>
            </a: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ční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c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lum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cou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free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se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dose/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ap…)</a:t>
            </a: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cs-CZ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ue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performance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come-base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yme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y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.)</a:t>
            </a: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binace obou (příklad Itálie…)</a:t>
            </a:r>
          </a:p>
          <a:p>
            <a:pPr marL="279400" marR="0" lvl="0" indent="-285750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jrozšířenější jsou finanční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jednodušší, nižší administrativní zátěž)</a:t>
            </a:r>
          </a:p>
          <a:p>
            <a:pPr marL="279400" marR="0" lvl="0" indent="-285750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 Austrálii, Itálii, Švédsku nebo USA se poměrně hodně využívají i </a:t>
            </a:r>
            <a:r>
              <a:rPr kumimoji="0" lang="cs-CZ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ue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Performance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A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1312" marR="0" lvl="1" indent="0" algn="l" defTabSz="830263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ooter Placeholder 2"/>
          <p:cNvSpPr txBox="1">
            <a:spLocks/>
          </p:cNvSpPr>
          <p:nvPr/>
        </p:nvSpPr>
        <p:spPr>
          <a:xfrm>
            <a:off x="0" y="6471832"/>
            <a:ext cx="2555631" cy="2119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  <a:hlinkClick r:id="rId7"/>
              </a:rPr>
              <a:t>w.htai.org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 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</p:spTree>
    <p:extLst>
      <p:ext uri="{BB962C8B-B14F-4D97-AF65-F5344CB8AC3E}">
        <p14:creationId xmlns:p14="http://schemas.microsoft.com/office/powerpoint/2010/main" val="2475942028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Zástupný symbol pro obsah 4">
            <a:extLst>
              <a:ext uri="{FF2B5EF4-FFF2-40B4-BE49-F238E27FC236}">
                <a16:creationId xmlns:a16="http://schemas.microsoft.com/office/drawing/2014/main" id="{2FB22213-73AA-4B5E-9A6F-1CE32B39026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95350" y="1127125"/>
          <a:ext cx="10407650" cy="3711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Zástupný symbol pro obsah 3">
            <a:extLst>
              <a:ext uri="{FF2B5EF4-FFF2-40B4-BE49-F238E27FC236}">
                <a16:creationId xmlns:a16="http://schemas.microsoft.com/office/drawing/2014/main" id="{626E097C-CBA3-46DC-85CB-0F77163F71A4}"/>
              </a:ext>
            </a:extLst>
          </p:cNvPr>
          <p:cNvGraphicFramePr>
            <a:graphicFrameLocks/>
          </p:cNvGraphicFramePr>
          <p:nvPr/>
        </p:nvGraphicFramePr>
        <p:xfrm>
          <a:off x="2127972" y="456415"/>
          <a:ext cx="7124046" cy="876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" name="Obdélník: se zakulacenými rohy 6">
            <a:extLst>
              <a:ext uri="{FF2B5EF4-FFF2-40B4-BE49-F238E27FC236}">
                <a16:creationId xmlns:a16="http://schemas.microsoft.com/office/drawing/2014/main" id="{58A35370-B5E8-41E9-BBE5-4567BF77F2C4}"/>
              </a:ext>
            </a:extLst>
          </p:cNvPr>
          <p:cNvSpPr/>
          <p:nvPr/>
        </p:nvSpPr>
        <p:spPr>
          <a:xfrm>
            <a:off x="857250" y="4927600"/>
            <a:ext cx="10407650" cy="1663700"/>
          </a:xfrm>
          <a:prstGeom prst="roundRect">
            <a:avLst/>
          </a:prstGeom>
          <a:solidFill>
            <a:srgbClr val="A400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F5484C1-7ABC-4C33-9AC2-1074EB046C8E}"/>
              </a:ext>
            </a:extLst>
          </p:cNvPr>
          <p:cNvSpPr txBox="1"/>
          <p:nvPr/>
        </p:nvSpPr>
        <p:spPr>
          <a:xfrm>
            <a:off x="1689100" y="5194597"/>
            <a:ext cx="1358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ACT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EAF30A7C-70F0-4C09-9E85-3BE0F8EC929C}"/>
              </a:ext>
            </a:extLst>
          </p:cNvPr>
          <p:cNvSpPr txBox="1"/>
          <p:nvPr/>
        </p:nvSpPr>
        <p:spPr>
          <a:xfrm>
            <a:off x="3302000" y="5016500"/>
            <a:ext cx="76581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tial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e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ee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tial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e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gibl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s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ee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e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te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ree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nding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um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shol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ched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mburseme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e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ecatse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nditure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 on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mbe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se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mburse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te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ufacture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ume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0099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5A07855-3374-4BD1-B17D-415F642E85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1232675"/>
              </p:ext>
            </p:extLst>
          </p:nvPr>
        </p:nvGraphicFramePr>
        <p:xfrm>
          <a:off x="717550" y="1075267"/>
          <a:ext cx="10756900" cy="40301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Obdélník: se zakulacenými rohy 11">
            <a:extLst>
              <a:ext uri="{FF2B5EF4-FFF2-40B4-BE49-F238E27FC236}">
                <a16:creationId xmlns:a16="http://schemas.microsoft.com/office/drawing/2014/main" id="{C1A4404D-1584-4001-9760-3440FCDB13C7}"/>
              </a:ext>
            </a:extLst>
          </p:cNvPr>
          <p:cNvSpPr/>
          <p:nvPr/>
        </p:nvSpPr>
        <p:spPr>
          <a:xfrm>
            <a:off x="717550" y="5206999"/>
            <a:ext cx="10756900" cy="1477327"/>
          </a:xfrm>
          <a:prstGeom prst="roundRect">
            <a:avLst/>
          </a:prstGeom>
          <a:solidFill>
            <a:srgbClr val="A400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C53A421F-95E3-47DD-B11E-FA1C4A1E8F75}"/>
              </a:ext>
            </a:extLst>
          </p:cNvPr>
          <p:cNvSpPr txBox="1"/>
          <p:nvPr/>
        </p:nvSpPr>
        <p:spPr>
          <a:xfrm>
            <a:off x="1336675" y="5295436"/>
            <a:ext cx="1358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ACT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87A10AEC-F7A5-4482-A7A1-41D1DE954E6E}"/>
              </a:ext>
            </a:extLst>
          </p:cNvPr>
          <p:cNvSpPr txBox="1"/>
          <p:nvPr/>
        </p:nvSpPr>
        <p:spPr>
          <a:xfrm>
            <a:off x="2452688" y="5244172"/>
            <a:ext cx="89408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mburseme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ug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t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ctive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atme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ruptio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ug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t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ctiv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rding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-established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s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ug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t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ctiv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s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ctiv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cted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ssessme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ead to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c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g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lusion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reements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mbursemen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ision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Zástupný symbol pro obsah 3">
            <a:extLst>
              <a:ext uri="{FF2B5EF4-FFF2-40B4-BE49-F238E27FC236}">
                <a16:creationId xmlns:a16="http://schemas.microsoft.com/office/drawing/2014/main" id="{2B470C80-FD1F-4F8C-8D22-6FD9FAF364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6350521"/>
              </p:ext>
            </p:extLst>
          </p:nvPr>
        </p:nvGraphicFramePr>
        <p:xfrm>
          <a:off x="2010525" y="355747"/>
          <a:ext cx="9124199" cy="876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044634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ktiva">
  <a:themeElements>
    <a:clrScheme name="PharmAround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AF0063"/>
      </a:accent1>
      <a:accent2>
        <a:srgbClr val="AF0063"/>
      </a:accent2>
      <a:accent3>
        <a:srgbClr val="AF0063"/>
      </a:accent3>
      <a:accent4>
        <a:srgbClr val="AF0063"/>
      </a:accent4>
      <a:accent5>
        <a:srgbClr val="AF0063"/>
      </a:accent5>
      <a:accent6>
        <a:srgbClr val="AF0063"/>
      </a:accent6>
      <a:hlink>
        <a:srgbClr val="AF0063"/>
      </a:hlink>
      <a:folHlink>
        <a:srgbClr val="AF0063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7_pharmaround_ppt_template" id="{8EA3A127-7165-43B3-B04A-B1777E05DEAD}" vid="{80D162FB-71FC-4038-AEDA-A2DB4E8584FB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heme1">
  <a:themeElements>
    <a:clrScheme name="ROCHE PHC">
      <a:dk1>
        <a:srgbClr val="000000"/>
      </a:dk1>
      <a:lt1>
        <a:srgbClr val="FFFFFF"/>
      </a:lt1>
      <a:dk2>
        <a:srgbClr val="0066CC"/>
      </a:dk2>
      <a:lt2>
        <a:srgbClr val="B1B3B3"/>
      </a:lt2>
      <a:accent1>
        <a:srgbClr val="0066CC"/>
      </a:accent1>
      <a:accent2>
        <a:srgbClr val="EC8A00"/>
      </a:accent2>
      <a:accent3>
        <a:srgbClr val="A05EB5"/>
      </a:accent3>
      <a:accent4>
        <a:srgbClr val="FFC72B"/>
      </a:accent4>
      <a:accent5>
        <a:srgbClr val="E20045"/>
      </a:accent5>
      <a:accent6>
        <a:srgbClr val="00955E"/>
      </a:accent6>
      <a:hlink>
        <a:srgbClr val="A05EB5"/>
      </a:hlink>
      <a:folHlink>
        <a:srgbClr val="00E5EF"/>
      </a:folHlink>
    </a:clrScheme>
    <a:fontScheme name="Roche">
      <a:majorFont>
        <a:latin typeface="Imago"/>
        <a:ea typeface=""/>
        <a:cs typeface=""/>
      </a:majorFont>
      <a:minorFont>
        <a:latin typeface="Imag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" pitchFamily="2" charset="0"/>
          </a:defRPr>
        </a:defPPr>
      </a:lstStyle>
      <a:style>
        <a:lnRef idx="1">
          <a:schemeClr val="tx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Theme1 1">
        <a:dk1>
          <a:srgbClr val="FF7F00"/>
        </a:dk1>
        <a:lt1>
          <a:srgbClr val="FFFFFF"/>
        </a:lt1>
        <a:dk2>
          <a:srgbClr val="0028A0"/>
        </a:dk2>
        <a:lt2>
          <a:srgbClr val="969696"/>
        </a:lt2>
        <a:accent1>
          <a:srgbClr val="FF7F00"/>
        </a:accent1>
        <a:accent2>
          <a:srgbClr val="800080"/>
        </a:accent2>
        <a:accent3>
          <a:srgbClr val="AAACCD"/>
        </a:accent3>
        <a:accent4>
          <a:srgbClr val="DADADA"/>
        </a:accent4>
        <a:accent5>
          <a:srgbClr val="FFC0AA"/>
        </a:accent5>
        <a:accent6>
          <a:srgbClr val="730073"/>
        </a:accent6>
        <a:hlink>
          <a:srgbClr val="9933FF"/>
        </a:hlink>
        <a:folHlink>
          <a:srgbClr val="FF33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Theme1 2">
        <a:dk1>
          <a:srgbClr val="000000"/>
        </a:dk1>
        <a:lt1>
          <a:srgbClr val="FFFFFF"/>
        </a:lt1>
        <a:dk2>
          <a:srgbClr val="969696"/>
        </a:dk2>
        <a:lt2>
          <a:srgbClr val="FF7F00"/>
        </a:lt2>
        <a:accent1>
          <a:srgbClr val="FF7F00"/>
        </a:accent1>
        <a:accent2>
          <a:srgbClr val="800080"/>
        </a:accent2>
        <a:accent3>
          <a:srgbClr val="FFFFFF"/>
        </a:accent3>
        <a:accent4>
          <a:srgbClr val="000000"/>
        </a:accent4>
        <a:accent5>
          <a:srgbClr val="FFC0AA"/>
        </a:accent5>
        <a:accent6>
          <a:srgbClr val="730073"/>
        </a:accent6>
        <a:hlink>
          <a:srgbClr val="9933FF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heme1 3">
        <a:dk1>
          <a:srgbClr val="000000"/>
        </a:dk1>
        <a:lt1>
          <a:srgbClr val="FFFFFF"/>
        </a:lt1>
        <a:dk2>
          <a:srgbClr val="959595"/>
        </a:dk2>
        <a:lt2>
          <a:srgbClr val="676767"/>
        </a:lt2>
        <a:accent1>
          <a:srgbClr val="B2B2B2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D5D5D5"/>
        </a:accent5>
        <a:accent6>
          <a:srgbClr val="454545"/>
        </a:accent6>
        <a:hlink>
          <a:srgbClr val="EAEAEA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1" id="{E9A0E292-2E1F-D244-8407-27F8C5D2B6E6}" vid="{6A279377-2898-4341-B1CA-537422F5B185}"/>
    </a:ext>
  </a:extLst>
</a:theme>
</file>

<file path=ppt/theme/theme4.xml><?xml version="1.0" encoding="utf-8"?>
<a:theme xmlns:a="http://schemas.openxmlformats.org/drawingml/2006/main" name="Rámeček">
  <a:themeElements>
    <a:clrScheme name="Vlastní 41">
      <a:dk1>
        <a:srgbClr val="151515"/>
      </a:dk1>
      <a:lt1>
        <a:srgbClr val="FFFFFF"/>
      </a:lt1>
      <a:dk2>
        <a:srgbClr val="3F3F3F"/>
      </a:dk2>
      <a:lt2>
        <a:srgbClr val="D5D5D5"/>
      </a:lt2>
      <a:accent1>
        <a:srgbClr val="242F75"/>
      </a:accent1>
      <a:accent2>
        <a:srgbClr val="5B6ACC"/>
      </a:accent2>
      <a:accent3>
        <a:srgbClr val="DEE1F4"/>
      </a:accent3>
      <a:accent4>
        <a:srgbClr val="7BD7B8"/>
      </a:accent4>
      <a:accent5>
        <a:srgbClr val="149888"/>
      </a:accent5>
      <a:accent6>
        <a:srgbClr val="1EAE63"/>
      </a:accent6>
      <a:hlink>
        <a:srgbClr val="2A3174"/>
      </a:hlink>
      <a:folHlink>
        <a:srgbClr val="5B6ACC"/>
      </a:folHlink>
    </a:clrScheme>
    <a:fontScheme name="CZECRIN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Rámeček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ZECRIN prezentace_verze 5" id="{ED3237C3-9A7E-4832-8C56-588760BC9CF9}" vid="{DC46A580-F799-48BB-8B20-0169416C8C2C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70</TotalTime>
  <Words>1612</Words>
  <Application>Microsoft Office PowerPoint</Application>
  <PresentationFormat>Širokoúhlá obrazovka</PresentationFormat>
  <Paragraphs>188</Paragraphs>
  <Slides>14</Slides>
  <Notes>9</Notes>
  <HiddenSlides>0</HiddenSlides>
  <MMClips>0</MMClips>
  <ScaleCrop>false</ScaleCrop>
  <HeadingPairs>
    <vt:vector size="8" baseType="variant">
      <vt:variant>
        <vt:lpstr>Použitá písma</vt:lpstr>
      </vt:variant>
      <vt:variant>
        <vt:i4>14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4</vt:i4>
      </vt:variant>
    </vt:vector>
  </HeadingPairs>
  <TitlesOfParts>
    <vt:vector size="33" baseType="lpstr">
      <vt:lpstr>Arial</vt:lpstr>
      <vt:lpstr>Calibri</vt:lpstr>
      <vt:lpstr>Calibri Light</vt:lpstr>
      <vt:lpstr>Imago</vt:lpstr>
      <vt:lpstr>Imago-Book</vt:lpstr>
      <vt:lpstr>Imago-Medium</vt:lpstr>
      <vt:lpstr>Minion</vt:lpstr>
      <vt:lpstr>Montserrat</vt:lpstr>
      <vt:lpstr>Open Sans</vt:lpstr>
      <vt:lpstr>Perpetua</vt:lpstr>
      <vt:lpstr>System Font Regular</vt:lpstr>
      <vt:lpstr>Trebuchet MS</vt:lpstr>
      <vt:lpstr>Wingdings</vt:lpstr>
      <vt:lpstr>Wingdings 2</vt:lpstr>
      <vt:lpstr>Retrospektiva</vt:lpstr>
      <vt:lpstr>Motiv Office</vt:lpstr>
      <vt:lpstr>1_Theme1</vt:lpstr>
      <vt:lpstr>Rámeček</vt:lpstr>
      <vt:lpstr>think-cell Slide</vt:lpstr>
      <vt:lpstr>Využití výstupů platformy GENESIS  pro Outcome-based modely úhrad inovativních léčiv</vt:lpstr>
      <vt:lpstr>Prezentace aplikace PowerPoint</vt:lpstr>
      <vt:lpstr>Personalizovaná medicína / RCT</vt:lpstr>
      <vt:lpstr>RWD has the power to close knowledge gaps and complement randomised clinical trials1</vt:lpstr>
      <vt:lpstr>Platforma GENESIS GEnomic alteration platform for NExt clinical StudieS</vt:lpstr>
      <vt:lpstr>„Řízený vstup léčivých příprav - MEAs                                                                    („Managed Entry Scheme/Agreements“)</vt:lpstr>
      <vt:lpstr>„Řízený vstup léčivých příprav - MEAs                                                                    („Managed Entry Scheme/Agreements“)</vt:lpstr>
      <vt:lpstr>Prezentace aplikace PowerPoint</vt:lpstr>
      <vt:lpstr>Prezentace aplikace PowerPoint</vt:lpstr>
      <vt:lpstr>Příklad  MEAs (Itálie, AIFA)  </vt:lpstr>
      <vt:lpstr>Příklad  MEAs (Itálie, AIFA)  </vt:lpstr>
      <vt:lpstr>„Learning Healthcare System“</vt:lpstr>
      <vt:lpstr>Prezentace aplikace PowerPoint</vt:lpstr>
      <vt:lpstr>WP5: Pilotní projekt GENESIS pro „Outcome-Based“ model úhrad  personalizovaných léčiv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Životní cyklus léčiva – oblasti přednášek</dc:title>
  <dc:creator>JD_DELL</dc:creator>
  <cp:lastModifiedBy>Regina Demlova</cp:lastModifiedBy>
  <cp:revision>111</cp:revision>
  <dcterms:created xsi:type="dcterms:W3CDTF">2017-10-31T14:30:30Z</dcterms:created>
  <dcterms:modified xsi:type="dcterms:W3CDTF">2022-04-27T06:09:18Z</dcterms:modified>
</cp:coreProperties>
</file>